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24.xml" ContentType="application/vnd.openxmlformats-officedocument.presentationml.tags+xml"/>
  <Override PartName="/ppt/notesSlides/notesSlide20.xml" ContentType="application/vnd.openxmlformats-officedocument.presentationml.notesSlide+xml"/>
  <Default Extension="gif" ContentType="image/gif"/>
  <Default Extension="tiff" ContentType="image/tiff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5"/>
  </p:notesMasterIdLst>
  <p:handoutMasterIdLst>
    <p:handoutMasterId r:id="rId56"/>
  </p:handoutMasterIdLst>
  <p:sldIdLst>
    <p:sldId id="501" r:id="rId2"/>
    <p:sldId id="386" r:id="rId3"/>
    <p:sldId id="551" r:id="rId4"/>
    <p:sldId id="514" r:id="rId5"/>
    <p:sldId id="515" r:id="rId6"/>
    <p:sldId id="516" r:id="rId7"/>
    <p:sldId id="570" r:id="rId8"/>
    <p:sldId id="340" r:id="rId9"/>
    <p:sldId id="389" r:id="rId10"/>
    <p:sldId id="548" r:id="rId11"/>
    <p:sldId id="547" r:id="rId12"/>
    <p:sldId id="391" r:id="rId13"/>
    <p:sldId id="556" r:id="rId14"/>
    <p:sldId id="552" r:id="rId15"/>
    <p:sldId id="553" r:id="rId16"/>
    <p:sldId id="554" r:id="rId17"/>
    <p:sldId id="555" r:id="rId18"/>
    <p:sldId id="559" r:id="rId19"/>
    <p:sldId id="558" r:id="rId20"/>
    <p:sldId id="517" r:id="rId21"/>
    <p:sldId id="518" r:id="rId22"/>
    <p:sldId id="519" r:id="rId23"/>
    <p:sldId id="520" r:id="rId24"/>
    <p:sldId id="521" r:id="rId25"/>
    <p:sldId id="525" r:id="rId26"/>
    <p:sldId id="546" r:id="rId27"/>
    <p:sldId id="562" r:id="rId28"/>
    <p:sldId id="526" r:id="rId29"/>
    <p:sldId id="563" r:id="rId30"/>
    <p:sldId id="564" r:id="rId31"/>
    <p:sldId id="565" r:id="rId32"/>
    <p:sldId id="347" r:id="rId33"/>
    <p:sldId id="571" r:id="rId34"/>
    <p:sldId id="583" r:id="rId35"/>
    <p:sldId id="584" r:id="rId36"/>
    <p:sldId id="585" r:id="rId37"/>
    <p:sldId id="572" r:id="rId38"/>
    <p:sldId id="573" r:id="rId39"/>
    <p:sldId id="574" r:id="rId40"/>
    <p:sldId id="575" r:id="rId41"/>
    <p:sldId id="576" r:id="rId42"/>
    <p:sldId id="538" r:id="rId43"/>
    <p:sldId id="550" r:id="rId44"/>
    <p:sldId id="586" r:id="rId45"/>
    <p:sldId id="590" r:id="rId46"/>
    <p:sldId id="592" r:id="rId47"/>
    <p:sldId id="533" r:id="rId48"/>
    <p:sldId id="549" r:id="rId49"/>
    <p:sldId id="577" r:id="rId50"/>
    <p:sldId id="578" r:id="rId51"/>
    <p:sldId id="579" r:id="rId52"/>
    <p:sldId id="580" r:id="rId53"/>
    <p:sldId id="581" r:id="rId54"/>
  </p:sldIdLst>
  <p:sldSz cx="9144000" cy="6858000" type="screen4x3"/>
  <p:notesSz cx="6797675" cy="9798050"/>
  <p:custDataLst>
    <p:tags r:id="rId5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Раздел по умолчанию" id="{56085DC5-45CE-42BB-A206-7827B300143A}">
          <p14:sldIdLst>
            <p14:sldId id="501"/>
            <p14:sldId id="510"/>
            <p14:sldId id="512"/>
            <p14:sldId id="386"/>
            <p14:sldId id="424"/>
            <p14:sldId id="340"/>
            <p14:sldId id="389"/>
            <p14:sldId id="372"/>
            <p14:sldId id="394"/>
            <p14:sldId id="391"/>
            <p14:sldId id="368"/>
            <p14:sldId id="380"/>
            <p14:sldId id="437"/>
            <p14:sldId id="426"/>
            <p14:sldId id="415"/>
            <p14:sldId id="412"/>
            <p14:sldId id="347"/>
            <p14:sldId id="507"/>
            <p14:sldId id="483"/>
            <p14:sldId id="486"/>
            <p14:sldId id="505"/>
            <p14:sldId id="511"/>
            <p14:sldId id="503"/>
            <p14:sldId id="513"/>
            <p14:sldId id="504"/>
            <p14:sldId id="493"/>
            <p14:sldId id="484"/>
            <p14:sldId id="485"/>
            <p14:sldId id="487"/>
            <p14:sldId id="488"/>
            <p14:sldId id="490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32" userDrawn="1">
          <p15:clr>
            <a:srgbClr val="A4A3A4"/>
          </p15:clr>
        </p15:guide>
        <p15:guide id="2" pos="6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2D3494"/>
    <a:srgbClr val="EB2049"/>
    <a:srgbClr val="D1E7F6"/>
    <a:srgbClr val="2F3696"/>
    <a:srgbClr val="408671"/>
    <a:srgbClr val="A84A20"/>
    <a:srgbClr val="853A1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82" autoAdjust="0"/>
    <p:restoredTop sz="96305" autoAdjust="0"/>
  </p:normalViewPr>
  <p:slideViewPr>
    <p:cSldViewPr snapToGrid="0" showGuides="1">
      <p:cViewPr varScale="1">
        <p:scale>
          <a:sx n="110" d="100"/>
          <a:sy n="110" d="100"/>
        </p:scale>
        <p:origin x="-96" y="-96"/>
      </p:cViewPr>
      <p:guideLst>
        <p:guide orient="horz" pos="232"/>
        <p:guide pos="61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gs" Target="tags/tag1.xml"/><Relationship Id="rId61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098" y="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FAE2B7-847C-436E-B842-CCE949DEAD1B}" type="datetimeFigureOut">
              <a:rPr lang="ru-RU" smtClean="0"/>
              <a:pPr/>
              <a:t>05.11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0611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098" y="930611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3470D6-A7D1-4BA7-BEF6-5D40279B2C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867665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16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16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4B29EE-4036-4DBD-AC34-D813A099D36A}" type="datetimeFigureOut">
              <a:rPr lang="ru-RU" smtClean="0"/>
              <a:pPr/>
              <a:t>05.11.2019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95388" y="1225550"/>
            <a:ext cx="4406900" cy="33051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317"/>
            <a:ext cx="5438140" cy="385798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06447"/>
            <a:ext cx="2945659" cy="491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06447"/>
            <a:ext cx="2945659" cy="491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6D8710-C1F7-456F-ACD4-57F616EF49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015511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926760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ln/>
        </p:spPr>
        <p:txBody>
          <a:bodyPr/>
          <a:lstStyle/>
          <a:p>
            <a:fld id="{55F34018-C51F-4DE0-B7C9-4F4E5BA2EED5}" type="slidenum">
              <a:rPr lang="ru-RU" smtClean="0">
                <a:latin typeface="Calibri" pitchFamily="34" charset="0"/>
                <a:ea typeface="Microsoft YaHei" pitchFamily="34" charset="-122"/>
                <a:cs typeface="Segoe UI" pitchFamily="34" charset="0"/>
              </a:rPr>
              <a:pPr/>
              <a:t>14</a:t>
            </a:fld>
            <a:endParaRPr lang="ru-RU">
              <a:latin typeface="Calibri" pitchFamily="34" charset="0"/>
              <a:ea typeface="Microsoft YaHei" pitchFamily="34" charset="-122"/>
              <a:cs typeface="Segoe UI" pitchFamily="34" charset="0"/>
            </a:endParaRPr>
          </a:p>
        </p:txBody>
      </p:sp>
      <p:sp>
        <p:nvSpPr>
          <p:cNvPr id="55299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  <a:solidFill>
            <a:srgbClr val="FFFFFF"/>
          </a:solidFill>
          <a:ln/>
        </p:spPr>
      </p:sp>
      <p:sp>
        <p:nvSpPr>
          <p:cNvPr id="55300" name="Text Box 2"/>
          <p:cNvSpPr txBox="1">
            <a:spLocks noChangeArrowheads="1"/>
          </p:cNvSpPr>
          <p:nvPr/>
        </p:nvSpPr>
        <p:spPr bwMode="auto">
          <a:xfrm>
            <a:off x="679769" y="4715312"/>
            <a:ext cx="5439729" cy="38564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5301" name="Text Box 3"/>
          <p:cNvSpPr txBox="1">
            <a:spLocks noChangeArrowheads="1"/>
          </p:cNvSpPr>
          <p:nvPr/>
        </p:nvSpPr>
        <p:spPr bwMode="auto">
          <a:xfrm>
            <a:off x="3851487" y="9305009"/>
            <a:ext cx="2946188" cy="49147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b"/>
          <a:lstStyle/>
          <a:p>
            <a:pPr algn="r"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fld id="{26570306-AF7C-40D2-A009-D7BFDB7303E9}" type="slidenum">
              <a:rPr lang="ru-RU" sz="1200">
                <a:solidFill>
                  <a:srgbClr val="181818"/>
                </a:solidFill>
                <a:latin typeface="Calibri" pitchFamily="34" charset="0"/>
              </a:rPr>
              <a:pPr algn="r">
                <a:buClrTx/>
                <a:buFontTx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</a:pPr>
              <a:t>14</a:t>
            </a:fld>
            <a:endParaRPr lang="ru-RU" sz="1200">
              <a:solidFill>
                <a:srgbClr val="181818"/>
              </a:solidFill>
              <a:latin typeface="Calibri" pitchFamily="34" charset="0"/>
            </a:endParaRPr>
          </a:p>
        </p:txBody>
      </p:sp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669039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ln/>
        </p:spPr>
        <p:txBody>
          <a:bodyPr/>
          <a:lstStyle/>
          <a:p>
            <a:fld id="{55F34018-C51F-4DE0-B7C9-4F4E5BA2EED5}" type="slidenum">
              <a:rPr lang="ru-RU" smtClean="0">
                <a:latin typeface="Calibri" pitchFamily="34" charset="0"/>
                <a:ea typeface="Microsoft YaHei" pitchFamily="34" charset="-122"/>
                <a:cs typeface="Segoe UI" pitchFamily="34" charset="0"/>
              </a:rPr>
              <a:pPr/>
              <a:t>15</a:t>
            </a:fld>
            <a:endParaRPr lang="ru-RU">
              <a:latin typeface="Calibri" pitchFamily="34" charset="0"/>
              <a:ea typeface="Microsoft YaHei" pitchFamily="34" charset="-122"/>
              <a:cs typeface="Segoe UI" pitchFamily="34" charset="0"/>
            </a:endParaRPr>
          </a:p>
        </p:txBody>
      </p:sp>
      <p:sp>
        <p:nvSpPr>
          <p:cNvPr id="55299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  <a:solidFill>
            <a:srgbClr val="FFFFFF"/>
          </a:solidFill>
          <a:ln/>
        </p:spPr>
      </p:sp>
      <p:sp>
        <p:nvSpPr>
          <p:cNvPr id="55300" name="Text Box 2"/>
          <p:cNvSpPr txBox="1">
            <a:spLocks noChangeArrowheads="1"/>
          </p:cNvSpPr>
          <p:nvPr/>
        </p:nvSpPr>
        <p:spPr bwMode="auto">
          <a:xfrm>
            <a:off x="679769" y="4715312"/>
            <a:ext cx="5439729" cy="38564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5301" name="Text Box 3"/>
          <p:cNvSpPr txBox="1">
            <a:spLocks noChangeArrowheads="1"/>
          </p:cNvSpPr>
          <p:nvPr/>
        </p:nvSpPr>
        <p:spPr bwMode="auto">
          <a:xfrm>
            <a:off x="3851487" y="9305009"/>
            <a:ext cx="2946188" cy="49147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b"/>
          <a:lstStyle/>
          <a:p>
            <a:pPr algn="r"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fld id="{26570306-AF7C-40D2-A009-D7BFDB7303E9}" type="slidenum">
              <a:rPr lang="ru-RU" sz="1200">
                <a:solidFill>
                  <a:srgbClr val="181818"/>
                </a:solidFill>
                <a:latin typeface="Calibri" pitchFamily="34" charset="0"/>
              </a:rPr>
              <a:pPr algn="r">
                <a:buClrTx/>
                <a:buFontTx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</a:pPr>
              <a:t>15</a:t>
            </a:fld>
            <a:endParaRPr lang="ru-RU" sz="1200">
              <a:solidFill>
                <a:srgbClr val="181818"/>
              </a:solidFill>
              <a:latin typeface="Calibri" pitchFamily="34" charset="0"/>
            </a:endParaRPr>
          </a:p>
        </p:txBody>
      </p:sp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646904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ln/>
        </p:spPr>
        <p:txBody>
          <a:bodyPr/>
          <a:lstStyle/>
          <a:p>
            <a:fld id="{55F34018-C51F-4DE0-B7C9-4F4E5BA2EED5}" type="slidenum">
              <a:rPr lang="ru-RU" smtClean="0">
                <a:latin typeface="Calibri" pitchFamily="34" charset="0"/>
                <a:ea typeface="Microsoft YaHei" pitchFamily="34" charset="-122"/>
                <a:cs typeface="Segoe UI" pitchFamily="34" charset="0"/>
              </a:rPr>
              <a:pPr/>
              <a:t>16</a:t>
            </a:fld>
            <a:endParaRPr lang="ru-RU">
              <a:latin typeface="Calibri" pitchFamily="34" charset="0"/>
              <a:ea typeface="Microsoft YaHei" pitchFamily="34" charset="-122"/>
              <a:cs typeface="Segoe UI" pitchFamily="34" charset="0"/>
            </a:endParaRPr>
          </a:p>
        </p:txBody>
      </p:sp>
      <p:sp>
        <p:nvSpPr>
          <p:cNvPr id="55299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  <a:solidFill>
            <a:srgbClr val="FFFFFF"/>
          </a:solidFill>
          <a:ln/>
        </p:spPr>
      </p:sp>
      <p:sp>
        <p:nvSpPr>
          <p:cNvPr id="55300" name="Text Box 2"/>
          <p:cNvSpPr txBox="1">
            <a:spLocks noChangeArrowheads="1"/>
          </p:cNvSpPr>
          <p:nvPr/>
        </p:nvSpPr>
        <p:spPr bwMode="auto">
          <a:xfrm>
            <a:off x="679769" y="4715312"/>
            <a:ext cx="5439729" cy="38564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5301" name="Text Box 3"/>
          <p:cNvSpPr txBox="1">
            <a:spLocks noChangeArrowheads="1"/>
          </p:cNvSpPr>
          <p:nvPr/>
        </p:nvSpPr>
        <p:spPr bwMode="auto">
          <a:xfrm>
            <a:off x="3851487" y="9305009"/>
            <a:ext cx="2946188" cy="49147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b"/>
          <a:lstStyle/>
          <a:p>
            <a:pPr algn="r"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fld id="{26570306-AF7C-40D2-A009-D7BFDB7303E9}" type="slidenum">
              <a:rPr lang="ru-RU" sz="1200">
                <a:solidFill>
                  <a:srgbClr val="181818"/>
                </a:solidFill>
                <a:latin typeface="Calibri" pitchFamily="34" charset="0"/>
              </a:rPr>
              <a:pPr algn="r">
                <a:buClrTx/>
                <a:buFontTx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</a:pPr>
              <a:t>16</a:t>
            </a:fld>
            <a:endParaRPr lang="ru-RU" sz="1200">
              <a:solidFill>
                <a:srgbClr val="181818"/>
              </a:solidFill>
              <a:latin typeface="Calibri" pitchFamily="34" charset="0"/>
            </a:endParaRPr>
          </a:p>
        </p:txBody>
      </p:sp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646904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ln/>
        </p:spPr>
        <p:txBody>
          <a:bodyPr/>
          <a:lstStyle/>
          <a:p>
            <a:fld id="{55F34018-C51F-4DE0-B7C9-4F4E5BA2EED5}" type="slidenum">
              <a:rPr lang="ru-RU" smtClean="0">
                <a:latin typeface="Calibri" pitchFamily="34" charset="0"/>
                <a:ea typeface="Microsoft YaHei" pitchFamily="34" charset="-122"/>
                <a:cs typeface="Segoe UI" pitchFamily="34" charset="0"/>
              </a:rPr>
              <a:pPr/>
              <a:t>17</a:t>
            </a:fld>
            <a:endParaRPr lang="ru-RU">
              <a:latin typeface="Calibri" pitchFamily="34" charset="0"/>
              <a:ea typeface="Microsoft YaHei" pitchFamily="34" charset="-122"/>
              <a:cs typeface="Segoe UI" pitchFamily="34" charset="0"/>
            </a:endParaRPr>
          </a:p>
        </p:txBody>
      </p:sp>
      <p:sp>
        <p:nvSpPr>
          <p:cNvPr id="55299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  <a:solidFill>
            <a:srgbClr val="FFFFFF"/>
          </a:solidFill>
          <a:ln/>
        </p:spPr>
      </p:sp>
      <p:sp>
        <p:nvSpPr>
          <p:cNvPr id="55300" name="Text Box 2"/>
          <p:cNvSpPr txBox="1">
            <a:spLocks noChangeArrowheads="1"/>
          </p:cNvSpPr>
          <p:nvPr/>
        </p:nvSpPr>
        <p:spPr bwMode="auto">
          <a:xfrm>
            <a:off x="679769" y="4715312"/>
            <a:ext cx="5439729" cy="38564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5301" name="Text Box 3"/>
          <p:cNvSpPr txBox="1">
            <a:spLocks noChangeArrowheads="1"/>
          </p:cNvSpPr>
          <p:nvPr/>
        </p:nvSpPr>
        <p:spPr bwMode="auto">
          <a:xfrm>
            <a:off x="3851487" y="9305009"/>
            <a:ext cx="2946188" cy="49147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b"/>
          <a:lstStyle/>
          <a:p>
            <a:pPr algn="r"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fld id="{26570306-AF7C-40D2-A009-D7BFDB7303E9}" type="slidenum">
              <a:rPr lang="ru-RU" sz="1200">
                <a:solidFill>
                  <a:srgbClr val="181818"/>
                </a:solidFill>
                <a:latin typeface="Calibri" pitchFamily="34" charset="0"/>
              </a:rPr>
              <a:pPr algn="r">
                <a:buClrTx/>
                <a:buFontTx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</a:pPr>
              <a:t>17</a:t>
            </a:fld>
            <a:endParaRPr lang="ru-RU" sz="1200">
              <a:solidFill>
                <a:srgbClr val="181818"/>
              </a:solidFill>
              <a:latin typeface="Calibri" pitchFamily="34" charset="0"/>
            </a:endParaRPr>
          </a:p>
        </p:txBody>
      </p:sp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646904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050" b="1" dirty="0">
                <a:latin typeface="Calibri" panose="020F0502020204030204" pitchFamily="34" charset="0"/>
                <a:cs typeface="Calibri" panose="020F0502020204030204" pitchFamily="34" charset="0"/>
              </a:rPr>
              <a:t>Преимущества</a:t>
            </a:r>
            <a:r>
              <a:rPr lang="ru-RU" b="1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Простая и удобная система навигации связывает текст учебника с мультимедийным пособием (диском)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Использование учебника позволяет в процессе обучения одновременно привлекать разнообразные информационные ресурсы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Позволяет выстроить траекторию учебного процесса в соответствии с особенностями класса или отдельных учащихся, эффективно организовывать самостоятельную работу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УМК «Навигатор» имеет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разноуровневые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задания для развития самостоятельного мышления у школьников, познавательного интереса к биологии, организации индивидуального учебного труда ребенка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6D8710-C1F7-456F-ACD4-57F616EF493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143643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050" b="1" dirty="0">
                <a:latin typeface="Calibri" panose="020F0502020204030204" pitchFamily="34" charset="0"/>
                <a:cs typeface="Calibri" panose="020F0502020204030204" pitchFamily="34" charset="0"/>
              </a:rPr>
              <a:t>Преимущества</a:t>
            </a:r>
            <a:r>
              <a:rPr lang="ru-RU" b="1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Простая и удобная система навигации связывает текст учебника с мультимедийным пособием (диском)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Использование учебника позволяет в процессе обучения одновременно привлекать разнообразные информационные ресурсы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Позволяет выстроить траекторию учебного процесса в соответствии с особенностями класса или отдельных учащихся, эффективно организовывать самостоятельную работу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УМК «Навигатор» имеет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разноуровневые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задания для развития самостоятельного мышления у школьников, познавательного интереса к биологии, организации индивидуального учебного труда ребенка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6D8710-C1F7-456F-ACD4-57F616EF493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780603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95388" y="1225550"/>
            <a:ext cx="4406900" cy="33051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089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По возможности все обложки рекомендуемой линии, должен быть виден начинающий и завершающий класс.</a:t>
            </a:r>
          </a:p>
          <a:p>
            <a:pPr>
              <a:spcBef>
                <a:spcPct val="0"/>
              </a:spcBef>
            </a:pPr>
            <a:r>
              <a:rPr lang="ru-RU" smtClean="0"/>
              <a:t>Нижний колонтитул с ссылкой на ресурс </a:t>
            </a:r>
            <a:r>
              <a:rPr lang="en-US" smtClean="0"/>
              <a:t>fpu345</a:t>
            </a:r>
            <a:r>
              <a:rPr lang="ru-RU" smtClean="0"/>
              <a:t> и иконками методические рекомендации, вебинары.</a:t>
            </a:r>
          </a:p>
          <a:p>
            <a:pPr>
              <a:spcBef>
                <a:spcPct val="0"/>
              </a:spcBef>
            </a:pPr>
            <a:endParaRPr lang="ru-RU" smtClean="0"/>
          </a:p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80899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5EF21CD-6222-4BEC-A329-B4686C312037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95388" y="1225550"/>
            <a:ext cx="4406900" cy="33051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397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По возможности все обложки рекомендуемой линии, должен быть виден начинающий и завершающий класс.</a:t>
            </a:r>
          </a:p>
          <a:p>
            <a:pPr>
              <a:spcBef>
                <a:spcPct val="0"/>
              </a:spcBef>
            </a:pPr>
            <a:r>
              <a:rPr lang="ru-RU" smtClean="0"/>
              <a:t>Нижний колонтитул с ссылкой на ресурс </a:t>
            </a:r>
            <a:r>
              <a:rPr lang="en-US" smtClean="0"/>
              <a:t>fpu345</a:t>
            </a:r>
            <a:r>
              <a:rPr lang="ru-RU" smtClean="0"/>
              <a:t> и иконками методические рекомендации, вебинары.</a:t>
            </a:r>
          </a:p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8397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FD83643-B99F-4509-BB9B-73DCB6A39BCD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95388" y="1225550"/>
            <a:ext cx="4406900" cy="33051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704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По возможности все обложки рекомендуемой линии, должен быть виден начинающий и завершающий класс.</a:t>
            </a:r>
          </a:p>
          <a:p>
            <a:pPr>
              <a:spcBef>
                <a:spcPct val="0"/>
              </a:spcBef>
            </a:pPr>
            <a:r>
              <a:rPr lang="ru-RU" smtClean="0"/>
              <a:t>Нижний колонтитул с ссылкой на ресурс </a:t>
            </a:r>
            <a:r>
              <a:rPr lang="en-US" smtClean="0"/>
              <a:t>fpu345</a:t>
            </a:r>
            <a:r>
              <a:rPr lang="ru-RU" smtClean="0"/>
              <a:t> и иконками методические рекомендации, вебинары.</a:t>
            </a:r>
          </a:p>
          <a:p>
            <a:pPr>
              <a:spcBef>
                <a:spcPct val="0"/>
              </a:spcBef>
            </a:pPr>
            <a:endParaRPr lang="ru-RU" smtClean="0"/>
          </a:p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8704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4C20BA9-F8E3-4A45-910E-402BBDF6D44F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8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95388" y="1225550"/>
            <a:ext cx="4406900" cy="33051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909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По возможности все обложки рекомендуемой линии, должен быть виден начинающий и завершающий класс.</a:t>
            </a:r>
          </a:p>
          <a:p>
            <a:pPr>
              <a:spcBef>
                <a:spcPct val="0"/>
              </a:spcBef>
            </a:pPr>
            <a:r>
              <a:rPr lang="ru-RU" smtClean="0"/>
              <a:t>Нижний колонтитул с ссылкой на ресурс </a:t>
            </a:r>
            <a:r>
              <a:rPr lang="en-US" smtClean="0"/>
              <a:t>fpu345</a:t>
            </a:r>
            <a:r>
              <a:rPr lang="ru-RU" smtClean="0"/>
              <a:t> и иконками методические рекомендации, вебинары.</a:t>
            </a:r>
          </a:p>
          <a:p>
            <a:pPr>
              <a:spcBef>
                <a:spcPct val="0"/>
              </a:spcBef>
            </a:pPr>
            <a:endParaRPr lang="ru-RU" smtClean="0"/>
          </a:p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8909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A0EA6A7-9BFC-4E8A-901A-6885469A7D36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0" y="725488"/>
            <a:ext cx="4833938" cy="36258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1856970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ln/>
        </p:spPr>
        <p:txBody>
          <a:bodyPr/>
          <a:lstStyle/>
          <a:p>
            <a:fld id="{55F34018-C51F-4DE0-B7C9-4F4E5BA2EED5}" type="slidenum">
              <a:rPr lang="ru-RU" smtClean="0">
                <a:latin typeface="Calibri" pitchFamily="34" charset="0"/>
                <a:ea typeface="Microsoft YaHei" pitchFamily="34" charset="-122"/>
                <a:cs typeface="Segoe UI" pitchFamily="34" charset="0"/>
              </a:rPr>
              <a:pPr/>
              <a:t>27</a:t>
            </a:fld>
            <a:endParaRPr lang="ru-RU">
              <a:latin typeface="Calibri" pitchFamily="34" charset="0"/>
              <a:ea typeface="Microsoft YaHei" pitchFamily="34" charset="-122"/>
              <a:cs typeface="Segoe UI" pitchFamily="34" charset="0"/>
            </a:endParaRPr>
          </a:p>
        </p:txBody>
      </p:sp>
      <p:sp>
        <p:nvSpPr>
          <p:cNvPr id="55299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  <a:solidFill>
            <a:srgbClr val="FFFFFF"/>
          </a:solidFill>
          <a:ln/>
        </p:spPr>
      </p:sp>
      <p:sp>
        <p:nvSpPr>
          <p:cNvPr id="55300" name="Text Box 2"/>
          <p:cNvSpPr txBox="1">
            <a:spLocks noChangeArrowheads="1"/>
          </p:cNvSpPr>
          <p:nvPr/>
        </p:nvSpPr>
        <p:spPr bwMode="auto">
          <a:xfrm>
            <a:off x="679769" y="4715312"/>
            <a:ext cx="5439729" cy="38564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5301" name="Text Box 3"/>
          <p:cNvSpPr txBox="1">
            <a:spLocks noChangeArrowheads="1"/>
          </p:cNvSpPr>
          <p:nvPr/>
        </p:nvSpPr>
        <p:spPr bwMode="auto">
          <a:xfrm>
            <a:off x="3851487" y="9305009"/>
            <a:ext cx="2946188" cy="49147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b"/>
          <a:lstStyle/>
          <a:p>
            <a:pPr algn="r"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fld id="{26570306-AF7C-40D2-A009-D7BFDB7303E9}" type="slidenum">
              <a:rPr lang="ru-RU" sz="1200">
                <a:solidFill>
                  <a:srgbClr val="181818"/>
                </a:solidFill>
                <a:latin typeface="Calibri" pitchFamily="34" charset="0"/>
              </a:rPr>
              <a:pPr algn="r">
                <a:buClrTx/>
                <a:buFontTx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</a:pPr>
              <a:t>27</a:t>
            </a:fld>
            <a:endParaRPr lang="ru-RU" sz="1200">
              <a:solidFill>
                <a:srgbClr val="181818"/>
              </a:solidFill>
              <a:latin typeface="Calibri" pitchFamily="34" charset="0"/>
            </a:endParaRPr>
          </a:p>
        </p:txBody>
      </p:sp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6469045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ln/>
        </p:spPr>
        <p:txBody>
          <a:bodyPr/>
          <a:lstStyle/>
          <a:p>
            <a:fld id="{55F34018-C51F-4DE0-B7C9-4F4E5BA2EED5}" type="slidenum">
              <a:rPr lang="ru-RU" smtClean="0">
                <a:latin typeface="Calibri" pitchFamily="34" charset="0"/>
                <a:ea typeface="Microsoft YaHei" pitchFamily="34" charset="-122"/>
                <a:cs typeface="Segoe UI" pitchFamily="34" charset="0"/>
              </a:rPr>
              <a:pPr/>
              <a:t>30</a:t>
            </a:fld>
            <a:endParaRPr lang="ru-RU">
              <a:latin typeface="Calibri" pitchFamily="34" charset="0"/>
              <a:ea typeface="Microsoft YaHei" pitchFamily="34" charset="-122"/>
              <a:cs typeface="Segoe UI" pitchFamily="34" charset="0"/>
            </a:endParaRPr>
          </a:p>
        </p:txBody>
      </p:sp>
      <p:sp>
        <p:nvSpPr>
          <p:cNvPr id="55299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  <a:solidFill>
            <a:srgbClr val="FFFFFF"/>
          </a:solidFill>
          <a:ln/>
        </p:spPr>
      </p:sp>
      <p:sp>
        <p:nvSpPr>
          <p:cNvPr id="55300" name="Text Box 2"/>
          <p:cNvSpPr txBox="1">
            <a:spLocks noChangeArrowheads="1"/>
          </p:cNvSpPr>
          <p:nvPr/>
        </p:nvSpPr>
        <p:spPr bwMode="auto">
          <a:xfrm>
            <a:off x="679769" y="4715312"/>
            <a:ext cx="5439729" cy="38564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5301" name="Text Box 3"/>
          <p:cNvSpPr txBox="1">
            <a:spLocks noChangeArrowheads="1"/>
          </p:cNvSpPr>
          <p:nvPr/>
        </p:nvSpPr>
        <p:spPr bwMode="auto">
          <a:xfrm>
            <a:off x="3851487" y="9305009"/>
            <a:ext cx="2946188" cy="49147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b"/>
          <a:lstStyle/>
          <a:p>
            <a:pPr algn="r"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fld id="{26570306-AF7C-40D2-A009-D7BFDB7303E9}" type="slidenum">
              <a:rPr lang="ru-RU" sz="1200">
                <a:solidFill>
                  <a:srgbClr val="181818"/>
                </a:solidFill>
                <a:latin typeface="Calibri" pitchFamily="34" charset="0"/>
              </a:rPr>
              <a:pPr algn="r">
                <a:buClrTx/>
                <a:buFontTx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</a:pPr>
              <a:t>30</a:t>
            </a:fld>
            <a:endParaRPr lang="ru-RU" sz="1200">
              <a:solidFill>
                <a:srgbClr val="181818"/>
              </a:solidFill>
              <a:latin typeface="Calibri" pitchFamily="34" charset="0"/>
            </a:endParaRPr>
          </a:p>
        </p:txBody>
      </p:sp>
      <p:sp>
        <p:nvSpPr>
          <p:cNvPr id="2" name="Заметки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646904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Shape 242"/>
          <p:cNvSpPr>
            <a:spLocks noGrp="1" noRot="1" noChangeAspect="1"/>
          </p:cNvSpPr>
          <p:nvPr>
            <p:ph type="sldImg" idx="2"/>
          </p:nvPr>
        </p:nvSpPr>
        <p:spPr>
          <a:xfrm>
            <a:off x="1196975" y="1225550"/>
            <a:ext cx="4403725" cy="330358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43" name="Shape 243"/>
          <p:cNvSpPr txBox="1">
            <a:spLocks noGrp="1"/>
          </p:cNvSpPr>
          <p:nvPr>
            <p:ph type="body" idx="1"/>
          </p:nvPr>
        </p:nvSpPr>
        <p:spPr>
          <a:xfrm>
            <a:off x="679769" y="4715312"/>
            <a:ext cx="5438139" cy="3857983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" name="Shape 244"/>
          <p:cNvSpPr txBox="1">
            <a:spLocks noGrp="1"/>
          </p:cNvSpPr>
          <p:nvPr>
            <p:ph type="sldNum" idx="12"/>
          </p:nvPr>
        </p:nvSpPr>
        <p:spPr>
          <a:xfrm>
            <a:off x="3850443" y="9306447"/>
            <a:ext cx="2945658" cy="49160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spcBef>
                  <a:spcPts val="0"/>
                </a:spcBef>
                <a:buSzPct val="25000"/>
                <a:buNone/>
              </a:pPr>
              <a:t>33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573183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4A87C7-4B62-43D1-BAC6-AE256D275BCC}" type="slidenum">
              <a:rPr lang="ru-RU" smtClean="0"/>
              <a:pPr/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73566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595488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457330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020848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087106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5388" y="1225550"/>
            <a:ext cx="4406900" cy="33051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6D8710-C1F7-456F-ACD4-57F616EF493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087106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10.bin"/><Relationship Id="rId2" Type="http://schemas.openxmlformats.org/officeDocument/2006/relationships/tags" Target="../tags/tag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9.png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661824346"/>
              </p:ext>
            </p:extLst>
          </p:nvPr>
        </p:nvGraphicFramePr>
        <p:xfrm>
          <a:off x="1589" y="1608"/>
          <a:ext cx="1587" cy="1587"/>
        </p:xfrm>
        <a:graphic>
          <a:graphicData uri="http://schemas.openxmlformats.org/presentationml/2006/ole">
            <p:oleObj spid="_x0000_s36556" name="think-cell Slide" r:id="rId3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250825" y="1052736"/>
            <a:ext cx="864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450"/>
              </a:spcBef>
              <a:buClr>
                <a:srgbClr val="2D3494"/>
              </a:buClr>
              <a:defRPr sz="105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450"/>
              </a:spcBef>
              <a:buClr>
                <a:srgbClr val="2D3494"/>
              </a:buClr>
              <a:defRPr sz="105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05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05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05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400169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25"/>
              </a:spcBef>
              <a:defRPr sz="6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0835" y="260648"/>
            <a:ext cx="863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1575"/>
              </a:lnSpc>
              <a:defRPr sz="15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1596467" y="-682103"/>
            <a:ext cx="45719" cy="324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1592999" y="-696476"/>
            <a:ext cx="54000" cy="324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 smtClean="0">
              <a:solidFill>
                <a:schemeClr val="bg1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516217" y="6334458"/>
            <a:ext cx="1526192" cy="363319"/>
          </a:xfrm>
          <a:prstGeom prst="rect">
            <a:avLst/>
          </a:prstGeom>
        </p:spPr>
      </p:pic>
      <p:pic>
        <p:nvPicPr>
          <p:cNvPr id="1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8213530" y="6331643"/>
            <a:ext cx="678950" cy="3661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813682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76"/>
            <a:ext cx="21336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/>
              <a:pPr/>
              <a:t>05.11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76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76"/>
            <a:ext cx="21336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571474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74" y="1785945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2500300" y="1785945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571474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571474" y="4071965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2500300" y="4071965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4857754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4857754" y="1785945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6786580" y="1785945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4857754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4857754" y="4071965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6786580" y="4071965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1" y="0"/>
          <a:ext cx="158354" cy="158750"/>
        </p:xfrm>
        <a:graphic>
          <a:graphicData uri="http://schemas.openxmlformats.org/presentationml/2006/ole">
            <p:oleObj spid="_x0000_s424962" name="think-cell Slide" r:id="rId4" imgW="360" imgH="360" progId="">
              <p:embed/>
            </p:oleObj>
          </a:graphicData>
        </a:graphic>
      </p:graphicFrame>
      <p:sp>
        <p:nvSpPr>
          <p:cNvPr id="5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defRPr/>
            </a:pPr>
            <a:endParaRPr lang="ru-RU" sz="2400" dirty="0" err="1">
              <a:solidFill>
                <a:schemeClr val="bg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pic>
        <p:nvPicPr>
          <p:cNvPr id="6" name="Изображение 5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74780" y="6419850"/>
            <a:ext cx="427435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28"/>
          <p:cNvSpPr>
            <a:spLocks noChangeArrowheads="1"/>
          </p:cNvSpPr>
          <p:nvPr userDrawn="1"/>
        </p:nvSpPr>
        <p:spPr bwMode="auto">
          <a:xfrm>
            <a:off x="0" y="6642100"/>
            <a:ext cx="9144000" cy="2159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12"/>
          <p:cNvSpPr txBox="1"/>
          <p:nvPr userDrawn="1"/>
        </p:nvSpPr>
        <p:spPr>
          <a:xfrm>
            <a:off x="252414" y="6688161"/>
            <a:ext cx="3599260" cy="12382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FFFFFF"/>
                </a:solidFill>
                <a:latin typeface="+mn-lt"/>
                <a:cs typeface="+mn-cs"/>
              </a:rPr>
              <a:t>© </a:t>
            </a:r>
            <a:r>
              <a:rPr lang="ru-RU" sz="800" dirty="0">
                <a:solidFill>
                  <a:srgbClr val="FFFFFF"/>
                </a:solidFill>
                <a:latin typeface="+mn-lt"/>
                <a:cs typeface="+mn-cs"/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Прямоугольник 3"/>
          <p:cNvSpPr/>
          <p:nvPr userDrawn="1"/>
        </p:nvSpPr>
        <p:spPr>
          <a:xfrm>
            <a:off x="8946987" y="6675488"/>
            <a:ext cx="157094" cy="153888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CD22E65A-B975-4107-9B6C-89C5D1A1ACF7}" type="slidenum">
              <a:rPr lang="ru-RU" sz="1000" b="1">
                <a:solidFill>
                  <a:schemeClr val="bg1"/>
                </a:solidFill>
                <a:latin typeface="Arial"/>
                <a:cs typeface="+mn-cs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000" b="1" kern="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pic>
        <p:nvPicPr>
          <p:cNvPr id="11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39124" y="6435748"/>
            <a:ext cx="751285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1194" y="1608"/>
          <a:ext cx="2381" cy="1587"/>
        </p:xfrm>
        <a:graphic>
          <a:graphicData uri="http://schemas.openxmlformats.org/presentationml/2006/ole">
            <p:oleObj spid="_x0000_s424963" name="think-cell Slide" r:id="rId7" imgW="360" imgH="360" progId="">
              <p:embed/>
            </p:oleObj>
          </a:graphicData>
        </a:graphic>
      </p:graphicFrame>
      <p:sp>
        <p:nvSpPr>
          <p:cNvPr id="3" name="Текст 8"/>
          <p:cNvSpPr>
            <a:spLocks noGrp="1"/>
          </p:cNvSpPr>
          <p:nvPr>
            <p:ph type="body" sz="quarter" idx="12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Образец текста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0825" y="332086"/>
            <a:ext cx="8640000" cy="785818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2400"/>
            </a:lvl1pPr>
          </a:lstStyle>
          <a:p>
            <a:r>
              <a:rPr lang="ru-RU" dirty="0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480935980"/>
              </p:ext>
            </p:extLst>
          </p:nvPr>
        </p:nvGraphicFramePr>
        <p:xfrm>
          <a:off x="1194" y="1608"/>
          <a:ext cx="2381" cy="1587"/>
        </p:xfrm>
        <a:graphic>
          <a:graphicData uri="http://schemas.openxmlformats.org/presentationml/2006/ole">
            <p:oleObj spid="_x0000_s551938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1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650" b="1" i="0" baseline="0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2797" y="71438"/>
            <a:ext cx="6617465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165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516217" y="6334458"/>
            <a:ext cx="1526192" cy="363319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8213530" y="6331643"/>
            <a:ext cx="678950" cy="3661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720217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1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/>
          <a:lstStyle/>
          <a:p>
            <a:fld id="{5B106E36-FD25-4E2D-B0AA-010F637433A0}" type="datetimeFigureOut">
              <a:rPr lang="ru-RU" smtClean="0"/>
              <a:pPr/>
              <a:t>05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6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3B24B4E-C1E9-41E9-B1D5-742BFD889F09}" type="datetimeFigureOut">
              <a:rPr lang="ru-RU" smtClean="0"/>
              <a:pPr/>
              <a:t>05.11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F518CD3-2483-4908-A850-16F71E7EADD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067748617"/>
              </p:ext>
            </p:extLst>
          </p:nvPr>
        </p:nvGraphicFramePr>
        <p:xfrm>
          <a:off x="1589" y="1608"/>
          <a:ext cx="1587" cy="1587"/>
        </p:xfrm>
        <a:graphic>
          <a:graphicData uri="http://schemas.openxmlformats.org/presentationml/2006/ole">
            <p:oleObj spid="_x0000_s92818" name="think-cell Slide" r:id="rId3" imgW="360" imgH="360" progId="">
              <p:embed/>
            </p:oleObj>
          </a:graphicData>
        </a:graphic>
      </p:graphicFrame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0835" y="260648"/>
            <a:ext cx="863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1575"/>
              </a:lnSpc>
              <a:defRPr sz="15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516217" y="6334458"/>
            <a:ext cx="1526192" cy="363319"/>
          </a:xfrm>
          <a:prstGeom prst="rect">
            <a:avLst/>
          </a:prstGeom>
        </p:spPr>
      </p:pic>
      <p:pic>
        <p:nvPicPr>
          <p:cNvPr id="10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8213530" y="6331643"/>
            <a:ext cx="678950" cy="366112"/>
          </a:xfrm>
          <a:prstGeom prst="rect">
            <a:avLst/>
          </a:prstGeom>
          <a:noFill/>
        </p:spPr>
      </p:pic>
      <p:sp>
        <p:nvSpPr>
          <p:cNvPr id="11" name="Прямоугольник 10"/>
          <p:cNvSpPr/>
          <p:nvPr userDrawn="1"/>
        </p:nvSpPr>
        <p:spPr>
          <a:xfrm rot="16200000">
            <a:off x="1596467" y="-682103"/>
            <a:ext cx="45719" cy="324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 smtClean="0">
              <a:solidFill>
                <a:srgbClr val="EB2049"/>
              </a:solidFill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 rot="16200000">
            <a:off x="1592999" y="-696476"/>
            <a:ext cx="54000" cy="324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81998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112739439"/>
              </p:ext>
            </p:extLst>
          </p:nvPr>
        </p:nvGraphicFramePr>
        <p:xfrm>
          <a:off x="1194" y="1608"/>
          <a:ext cx="2381" cy="1587"/>
        </p:xfrm>
        <a:graphic>
          <a:graphicData uri="http://schemas.openxmlformats.org/presentationml/2006/ole">
            <p:oleObj spid="_x0000_s67222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1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650" b="1" i="0" baseline="0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2797" y="71438"/>
            <a:ext cx="6617465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165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516217" y="6334458"/>
            <a:ext cx="1526192" cy="363319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8213530" y="6331643"/>
            <a:ext cx="678950" cy="3661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778201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806013567"/>
              </p:ext>
            </p:extLst>
          </p:nvPr>
        </p:nvGraphicFramePr>
        <p:xfrm>
          <a:off x="1194" y="1608"/>
          <a:ext cx="2381" cy="1587"/>
        </p:xfrm>
        <a:graphic>
          <a:graphicData uri="http://schemas.openxmlformats.org/presentationml/2006/ole">
            <p:oleObj spid="_x0000_s68246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1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650" b="1" i="0" baseline="0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2797" y="71438"/>
            <a:ext cx="6617465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165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516217" y="6334458"/>
            <a:ext cx="1526192" cy="363319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8213530" y="6331643"/>
            <a:ext cx="678950" cy="3661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825447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3875906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p:oleObj spid="_x0000_s128629" name="think-cell Slide" r:id="rId3" imgW="360" imgH="360" progId="">
              <p:embed/>
            </p:oleObj>
          </a:graphicData>
        </a:graphic>
      </p:graphicFrame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516217" y="6334458"/>
            <a:ext cx="1526192" cy="363319"/>
          </a:xfrm>
          <a:prstGeom prst="rect">
            <a:avLst/>
          </a:prstGeom>
        </p:spPr>
      </p:pic>
      <p:pic>
        <p:nvPicPr>
          <p:cNvPr id="7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8213530" y="6331643"/>
            <a:ext cx="678950" cy="3661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9041366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835353320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p:oleObj spid="_x0000_s301242" name="think-cell Slide" r:id="rId3" imgW="360" imgH="360" progId="">
              <p:embed/>
            </p:oleObj>
          </a:graphicData>
        </a:graphic>
      </p:graphicFrame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3346946" y="5013176"/>
            <a:ext cx="3562165" cy="528694"/>
          </a:xfrm>
        </p:spPr>
        <p:txBody>
          <a:bodyPr>
            <a:normAutofit/>
          </a:bodyPr>
          <a:lstStyle>
            <a:lvl1pPr>
              <a:defRPr sz="135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3346946" y="5692698"/>
            <a:ext cx="3576325" cy="360040"/>
          </a:xfrm>
        </p:spPr>
        <p:txBody>
          <a:bodyPr/>
          <a:lstStyle>
            <a:lvl1pPr>
              <a:defRPr sz="1125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grpSp>
        <p:nvGrpSpPr>
          <p:cNvPr id="17" name="Группа 16"/>
          <p:cNvGrpSpPr/>
          <p:nvPr userDrawn="1"/>
        </p:nvGrpSpPr>
        <p:grpSpPr>
          <a:xfrm>
            <a:off x="305526" y="946350"/>
            <a:ext cx="2619150" cy="1037308"/>
            <a:chOff x="6456040" y="1582513"/>
            <a:chExt cx="2456406" cy="978759"/>
          </a:xfrm>
        </p:grpSpPr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20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3346933" y="452130"/>
            <a:ext cx="4608512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21" name="Прямоугольник 20"/>
          <p:cNvSpPr/>
          <p:nvPr userDrawn="1"/>
        </p:nvSpPr>
        <p:spPr>
          <a:xfrm>
            <a:off x="3092031" y="452149"/>
            <a:ext cx="3428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3067150" y="452149"/>
            <a:ext cx="50468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42353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209863600"/>
              </p:ext>
            </p:extLst>
          </p:nvPr>
        </p:nvGraphicFramePr>
        <p:xfrm>
          <a:off x="1194" y="1608"/>
          <a:ext cx="2381" cy="1587"/>
        </p:xfrm>
        <a:graphic>
          <a:graphicData uri="http://schemas.openxmlformats.org/presentationml/2006/ole">
            <p:oleObj spid="_x0000_s346231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650" b="1" i="0" baseline="0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2797" y="71438"/>
            <a:ext cx="6617465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165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2655525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 (без лог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76"/>
            <a:ext cx="21336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/>
              <a:pPr/>
              <a:t>05.11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76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76"/>
            <a:ext cx="21336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73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76"/>
            <a:ext cx="21336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/>
              <a:pPr/>
              <a:t>05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76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76"/>
            <a:ext cx="21336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676717531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783" name="think-cell Slide" r:id="rId18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7"/>
            </p:custDataLst>
          </p:nvPr>
        </p:nvSpPr>
        <p:spPr>
          <a:xfrm>
            <a:off x="1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8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0825" y="1554480"/>
            <a:ext cx="864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52000" y="6688523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600" dirty="0">
                <a:solidFill>
                  <a:srgbClr val="FFFFFF"/>
                </a:solidFill>
              </a:rPr>
              <a:t>© </a:t>
            </a:r>
            <a:r>
              <a:rPr lang="ru-RU" sz="600" dirty="0">
                <a:solidFill>
                  <a:srgbClr val="FFFFFF"/>
                </a:solidFill>
              </a:rPr>
              <a:t>Корпорация «Российский</a:t>
            </a:r>
            <a:r>
              <a:rPr lang="ru-RU" sz="600" baseline="0" dirty="0">
                <a:solidFill>
                  <a:srgbClr val="FFFFFF"/>
                </a:solidFill>
              </a:rPr>
              <a:t> учебник»</a:t>
            </a:r>
            <a:endParaRPr lang="ru-RU" sz="6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4443867" y="6509497"/>
            <a:ext cx="30008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kumimoji="0" lang="ru-RU" sz="75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/>
              <a:t>‹#›</a:t>
            </a:fld>
            <a:endParaRPr lang="ru-RU" sz="750" dirty="0">
              <a:latin typeface="Calibri" panose="020F0502020204030204" pitchFamily="34" charset="0"/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50825" y="339516"/>
            <a:ext cx="864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988652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710" r:id="rId2"/>
    <p:sldLayoutId id="2147483686" r:id="rId3"/>
    <p:sldLayoutId id="2147483687" r:id="rId4"/>
    <p:sldLayoutId id="2147483711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21" r:id="rId12"/>
    <p:sldLayoutId id="2147483722" r:id="rId13"/>
    <p:sldLayoutId id="2147483723" r:id="rId1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450"/>
        </a:spcBef>
        <a:buClr>
          <a:schemeClr val="bg2"/>
        </a:buClr>
        <a:buFont typeface="Arial" pitchFamily="34" charset="0"/>
        <a:buNone/>
        <a:defRPr sz="9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05CAB"/>
        </a:buClr>
        <a:buFont typeface="Wingdings" pitchFamily="2" charset="2"/>
        <a:buChar char="§"/>
        <a:defRPr sz="9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rgbClr val="005CAB"/>
        </a:buClr>
        <a:buFont typeface="Arial" pitchFamily="34" charset="0"/>
        <a:buChar char="–"/>
        <a:defRPr sz="9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rgbClr val="005CAB"/>
        </a:buClr>
        <a:buFont typeface="Arial" pitchFamily="34" charset="0"/>
        <a:buChar char="•"/>
        <a:defRPr sz="9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35000" algn="l" defTabSz="685800" rtl="0" eaLnBrk="1" latinLnBrk="0" hangingPunct="1">
        <a:spcBef>
          <a:spcPts val="225"/>
        </a:spcBef>
        <a:buClr>
          <a:srgbClr val="005CAB"/>
        </a:buClr>
        <a:buFont typeface="Arial" pitchFamily="34" charset="0"/>
        <a:buChar char="•"/>
        <a:defRPr sz="9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hyperlink" Target="consultantplus://offline/ref=7424E31B6B8D8C3D1885DB16ABD741EC47AC1315D752174188F7DAE0E3045560D1763AAC5CDB1A294C7D598C8FUBJDO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consultantplus://offline/ref=023F1AA214D26817B12CB4FA9E7841BF133BFB7F434963860BC92254B20E14627274D6A79B1FFC6EF5559FE3DC9D5B385BBF45BA274E40BBtFUCO" TargetMode="External"/><Relationship Id="rId3" Type="http://schemas.openxmlformats.org/officeDocument/2006/relationships/slideLayout" Target="../slideLayouts/slideLayout1.xml"/><Relationship Id="rId7" Type="http://schemas.openxmlformats.org/officeDocument/2006/relationships/hyperlink" Target="consultantplus://offline/ref=023F1AA214D26817B12CAAF49A7841BF103EF87C404B63860BC92254B20E146260748EAB9A1BE26FF240C9B299tCU1O" TargetMode="External"/><Relationship Id="rId12" Type="http://schemas.openxmlformats.org/officeDocument/2006/relationships/hyperlink" Target="http://www.fpu.edu.ru/fpu" TargetMode="External"/><Relationship Id="rId2" Type="http://schemas.openxmlformats.org/officeDocument/2006/relationships/tags" Target="../tags/tag1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4.emf"/><Relationship Id="rId11" Type="http://schemas.openxmlformats.org/officeDocument/2006/relationships/hyperlink" Target="http://www.consultant.ru/" TargetMode="External"/><Relationship Id="rId5" Type="http://schemas.openxmlformats.org/officeDocument/2006/relationships/oleObject" Target="../embeddings/oleObject18.bin"/><Relationship Id="rId10" Type="http://schemas.openxmlformats.org/officeDocument/2006/relationships/hyperlink" Target="http://www.garant.ru/" TargetMode="External"/><Relationship Id="rId4" Type="http://schemas.openxmlformats.org/officeDocument/2006/relationships/notesSlide" Target="../notesSlides/notesSlide7.xml"/><Relationship Id="rId9" Type="http://schemas.openxmlformats.org/officeDocument/2006/relationships/hyperlink" Target="consultantplus://offline/ref=023F1AA214D26817B12CB4FA9E7841BF1033FC79494C63860BC92254B20E14627274D6A79B1FFC6EF3559FE3DC9D5B385BBF45BA274E40BBtFUCO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13" Type="http://schemas.openxmlformats.org/officeDocument/2006/relationships/hyperlink" Target="https://rosuchebnik.ru/product/obshchaya-biologiya-bazovyy-uroven-11-klass-uchebnik-424417/" TargetMode="External"/><Relationship Id="rId18" Type="http://schemas.openxmlformats.org/officeDocument/2006/relationships/image" Target="../media/image38.jpeg"/><Relationship Id="rId3" Type="http://schemas.openxmlformats.org/officeDocument/2006/relationships/hyperlink" Target="https://rosuchebnik.ru/product/biologiya-5-6klassy-uchebnik-427949/" TargetMode="External"/><Relationship Id="rId7" Type="http://schemas.openxmlformats.org/officeDocument/2006/relationships/hyperlink" Target="https://rosuchebnik.ru/product/biologiya-5klass-uchebnik-638052/" TargetMode="External"/><Relationship Id="rId12" Type="http://schemas.openxmlformats.org/officeDocument/2006/relationships/image" Target="../media/image33.jpeg"/><Relationship Id="rId17" Type="http://schemas.openxmlformats.org/officeDocument/2006/relationships/image" Target="../media/image37.jpe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36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.jpeg"/><Relationship Id="rId11" Type="http://schemas.openxmlformats.org/officeDocument/2006/relationships/hyperlink" Target="https://rosuchebnik.ru/product/obshchaya-biologiya-10-klass-bazovyy-uroven-vertikal-722959/" TargetMode="External"/><Relationship Id="rId5" Type="http://schemas.openxmlformats.org/officeDocument/2006/relationships/hyperlink" Target="https://rosuchebnik.ru/product/biologiya-9klass-uchebnik-581143/" TargetMode="External"/><Relationship Id="rId15" Type="http://schemas.openxmlformats.org/officeDocument/2006/relationships/image" Target="../media/image35.jpeg"/><Relationship Id="rId10" Type="http://schemas.openxmlformats.org/officeDocument/2006/relationships/image" Target="../media/image32.jpeg"/><Relationship Id="rId4" Type="http://schemas.openxmlformats.org/officeDocument/2006/relationships/image" Target="../media/image29.jpeg"/><Relationship Id="rId9" Type="http://schemas.openxmlformats.org/officeDocument/2006/relationships/hyperlink" Target="https://rosuchebnik.ru/product/biologiya-9klass-uchebnik/" TargetMode="External"/><Relationship Id="rId14" Type="http://schemas.openxmlformats.org/officeDocument/2006/relationships/image" Target="../media/image34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18" Type="http://schemas.openxmlformats.org/officeDocument/2006/relationships/image" Target="../media/image51.png"/><Relationship Id="rId26" Type="http://schemas.openxmlformats.org/officeDocument/2006/relationships/image" Target="../media/image59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54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5" Type="http://schemas.openxmlformats.org/officeDocument/2006/relationships/image" Target="../media/image58.png"/><Relationship Id="rId2" Type="http://schemas.openxmlformats.org/officeDocument/2006/relationships/tags" Target="../tags/tag14.xml"/><Relationship Id="rId16" Type="http://schemas.openxmlformats.org/officeDocument/2006/relationships/image" Target="../media/image49.png"/><Relationship Id="rId20" Type="http://schemas.openxmlformats.org/officeDocument/2006/relationships/image" Target="../media/image53.png"/><Relationship Id="rId29" Type="http://schemas.openxmlformats.org/officeDocument/2006/relationships/image" Target="../media/image62.png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24" Type="http://schemas.openxmlformats.org/officeDocument/2006/relationships/image" Target="../media/image57.png"/><Relationship Id="rId5" Type="http://schemas.openxmlformats.org/officeDocument/2006/relationships/oleObject" Target="../embeddings/oleObject19.bin"/><Relationship Id="rId15" Type="http://schemas.openxmlformats.org/officeDocument/2006/relationships/image" Target="../media/image48.jpeg"/><Relationship Id="rId23" Type="http://schemas.openxmlformats.org/officeDocument/2006/relationships/image" Target="../media/image56.png"/><Relationship Id="rId28" Type="http://schemas.openxmlformats.org/officeDocument/2006/relationships/image" Target="../media/image61.png"/><Relationship Id="rId10" Type="http://schemas.openxmlformats.org/officeDocument/2006/relationships/image" Target="../media/image43.png"/><Relationship Id="rId19" Type="http://schemas.openxmlformats.org/officeDocument/2006/relationships/image" Target="../media/image52.png"/><Relationship Id="rId31" Type="http://schemas.openxmlformats.org/officeDocument/2006/relationships/image" Target="../media/image64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2.png"/><Relationship Id="rId14" Type="http://schemas.openxmlformats.org/officeDocument/2006/relationships/image" Target="../media/image47.jpeg"/><Relationship Id="rId22" Type="http://schemas.openxmlformats.org/officeDocument/2006/relationships/image" Target="../media/image55.png"/><Relationship Id="rId27" Type="http://schemas.openxmlformats.org/officeDocument/2006/relationships/image" Target="../media/image60.jpeg"/><Relationship Id="rId30" Type="http://schemas.openxmlformats.org/officeDocument/2006/relationships/image" Target="../media/image6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eg"/><Relationship Id="rId13" Type="http://schemas.openxmlformats.org/officeDocument/2006/relationships/image" Target="../media/image69.jpeg"/><Relationship Id="rId18" Type="http://schemas.openxmlformats.org/officeDocument/2006/relationships/image" Target="../media/image74.jpe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77.png"/><Relationship Id="rId7" Type="http://schemas.openxmlformats.org/officeDocument/2006/relationships/image" Target="../media/image67.jpeg"/><Relationship Id="rId12" Type="http://schemas.openxmlformats.org/officeDocument/2006/relationships/image" Target="../media/image57.png"/><Relationship Id="rId17" Type="http://schemas.openxmlformats.org/officeDocument/2006/relationships/image" Target="../media/image73.png"/><Relationship Id="rId2" Type="http://schemas.openxmlformats.org/officeDocument/2006/relationships/tags" Target="../tags/tag15.xml"/><Relationship Id="rId16" Type="http://schemas.openxmlformats.org/officeDocument/2006/relationships/image" Target="../media/image72.jpeg"/><Relationship Id="rId20" Type="http://schemas.openxmlformats.org/officeDocument/2006/relationships/image" Target="../media/image76.jpeg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6.emf"/><Relationship Id="rId11" Type="http://schemas.openxmlformats.org/officeDocument/2006/relationships/image" Target="../media/image56.png"/><Relationship Id="rId5" Type="http://schemas.openxmlformats.org/officeDocument/2006/relationships/oleObject" Target="../embeddings/oleObject20.bin"/><Relationship Id="rId15" Type="http://schemas.openxmlformats.org/officeDocument/2006/relationships/image" Target="../media/image71.jpeg"/><Relationship Id="rId10" Type="http://schemas.openxmlformats.org/officeDocument/2006/relationships/image" Target="../media/image55.png"/><Relationship Id="rId19" Type="http://schemas.openxmlformats.org/officeDocument/2006/relationships/image" Target="../media/image75.jpe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54.png"/><Relationship Id="rId14" Type="http://schemas.openxmlformats.org/officeDocument/2006/relationships/image" Target="../media/image70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jpeg"/><Relationship Id="rId13" Type="http://schemas.openxmlformats.org/officeDocument/2006/relationships/image" Target="../media/image82.jpeg"/><Relationship Id="rId18" Type="http://schemas.openxmlformats.org/officeDocument/2006/relationships/image" Target="../media/image8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6.emf"/><Relationship Id="rId12" Type="http://schemas.openxmlformats.org/officeDocument/2006/relationships/image" Target="../media/image47.jpeg"/><Relationship Id="rId17" Type="http://schemas.openxmlformats.org/officeDocument/2006/relationships/image" Target="../media/image85.jpeg"/><Relationship Id="rId2" Type="http://schemas.openxmlformats.org/officeDocument/2006/relationships/tags" Target="../tags/tag16.xml"/><Relationship Id="rId16" Type="http://schemas.openxmlformats.org/officeDocument/2006/relationships/image" Target="../media/image84.jpeg"/><Relationship Id="rId20" Type="http://schemas.openxmlformats.org/officeDocument/2006/relationships/image" Target="../media/image42.png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8.jpeg"/><Relationship Id="rId11" Type="http://schemas.openxmlformats.org/officeDocument/2006/relationships/image" Target="../media/image61.png"/><Relationship Id="rId5" Type="http://schemas.openxmlformats.org/officeDocument/2006/relationships/oleObject" Target="../embeddings/oleObject21.bin"/><Relationship Id="rId15" Type="http://schemas.openxmlformats.org/officeDocument/2006/relationships/image" Target="../media/image83.jpeg"/><Relationship Id="rId10" Type="http://schemas.openxmlformats.org/officeDocument/2006/relationships/image" Target="../media/image81.jpeg"/><Relationship Id="rId19" Type="http://schemas.openxmlformats.org/officeDocument/2006/relationships/image" Target="../media/image73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80.jpeg"/><Relationship Id="rId14" Type="http://schemas.openxmlformats.org/officeDocument/2006/relationships/image" Target="../media/image5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jpeg"/><Relationship Id="rId13" Type="http://schemas.openxmlformats.org/officeDocument/2006/relationships/image" Target="../media/image93.jpeg"/><Relationship Id="rId18" Type="http://schemas.openxmlformats.org/officeDocument/2006/relationships/image" Target="../media/image58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73.png"/><Relationship Id="rId7" Type="http://schemas.openxmlformats.org/officeDocument/2006/relationships/image" Target="../media/image87.jpeg"/><Relationship Id="rId12" Type="http://schemas.openxmlformats.org/officeDocument/2006/relationships/image" Target="../media/image92.jpeg"/><Relationship Id="rId17" Type="http://schemas.openxmlformats.org/officeDocument/2006/relationships/image" Target="../media/image43.png"/><Relationship Id="rId2" Type="http://schemas.openxmlformats.org/officeDocument/2006/relationships/tags" Target="../tags/tag17.xml"/><Relationship Id="rId16" Type="http://schemas.openxmlformats.org/officeDocument/2006/relationships/image" Target="../media/image96.jpeg"/><Relationship Id="rId20" Type="http://schemas.openxmlformats.org/officeDocument/2006/relationships/image" Target="../media/image60.jpeg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6.emf"/><Relationship Id="rId11" Type="http://schemas.openxmlformats.org/officeDocument/2006/relationships/image" Target="../media/image91.jpeg"/><Relationship Id="rId5" Type="http://schemas.openxmlformats.org/officeDocument/2006/relationships/oleObject" Target="../embeddings/oleObject22.bin"/><Relationship Id="rId15" Type="http://schemas.openxmlformats.org/officeDocument/2006/relationships/image" Target="../media/image95.jpeg"/><Relationship Id="rId10" Type="http://schemas.openxmlformats.org/officeDocument/2006/relationships/image" Target="../media/image90.jpeg"/><Relationship Id="rId19" Type="http://schemas.openxmlformats.org/officeDocument/2006/relationships/image" Target="../media/image59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89.jpeg"/><Relationship Id="rId14" Type="http://schemas.openxmlformats.org/officeDocument/2006/relationships/image" Target="../media/image94.jpeg"/><Relationship Id="rId22" Type="http://schemas.openxmlformats.org/officeDocument/2006/relationships/image" Target="../media/image7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jpeg"/><Relationship Id="rId13" Type="http://schemas.openxmlformats.org/officeDocument/2006/relationships/image" Target="../media/image3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5.jpeg"/><Relationship Id="rId12" Type="http://schemas.openxmlformats.org/officeDocument/2006/relationships/image" Target="../media/image38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6.emf"/><Relationship Id="rId11" Type="http://schemas.openxmlformats.org/officeDocument/2006/relationships/image" Target="../media/image36.jpeg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99.jpe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98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00.pn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104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0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0.png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104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10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png"/><Relationship Id="rId2" Type="http://schemas.openxmlformats.org/officeDocument/2006/relationships/tags" Target="../tags/tag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jpeg"/><Relationship Id="rId13" Type="http://schemas.openxmlformats.org/officeDocument/2006/relationships/image" Target="../media/image86.jpeg"/><Relationship Id="rId18" Type="http://schemas.openxmlformats.org/officeDocument/2006/relationships/image" Target="../media/image72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4.jpeg"/><Relationship Id="rId12" Type="http://schemas.openxmlformats.org/officeDocument/2006/relationships/image" Target="../media/image108.emf"/><Relationship Id="rId17" Type="http://schemas.openxmlformats.org/officeDocument/2006/relationships/image" Target="../media/image71.jpeg"/><Relationship Id="rId2" Type="http://schemas.openxmlformats.org/officeDocument/2006/relationships/tags" Target="../tags/tag21.xml"/><Relationship Id="rId16" Type="http://schemas.openxmlformats.org/officeDocument/2006/relationships/image" Target="../media/image70.jpeg"/><Relationship Id="rId1" Type="http://schemas.openxmlformats.org/officeDocument/2006/relationships/vmlDrawing" Target="../drawings/vmlDrawing25.vml"/><Relationship Id="rId6" Type="http://schemas.openxmlformats.org/officeDocument/2006/relationships/image" Target="../media/image83.jpeg"/><Relationship Id="rId11" Type="http://schemas.openxmlformats.org/officeDocument/2006/relationships/image" Target="../media/image107.emf"/><Relationship Id="rId5" Type="http://schemas.openxmlformats.org/officeDocument/2006/relationships/image" Target="../media/image81.jpeg"/><Relationship Id="rId15" Type="http://schemas.openxmlformats.org/officeDocument/2006/relationships/image" Target="../media/image69.jpeg"/><Relationship Id="rId10" Type="http://schemas.openxmlformats.org/officeDocument/2006/relationships/image" Target="../media/image106.emf"/><Relationship Id="rId4" Type="http://schemas.openxmlformats.org/officeDocument/2006/relationships/notesSlide" Target="../notesSlides/notesSlide16.xml"/><Relationship Id="rId9" Type="http://schemas.openxmlformats.org/officeDocument/2006/relationships/oleObject" Target="../embeddings/oleObject26.bin"/><Relationship Id="rId14" Type="http://schemas.openxmlformats.org/officeDocument/2006/relationships/image" Target="../media/image67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jpeg"/><Relationship Id="rId13" Type="http://schemas.openxmlformats.org/officeDocument/2006/relationships/image" Target="../media/image7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4.jpeg"/><Relationship Id="rId12" Type="http://schemas.openxmlformats.org/officeDocument/2006/relationships/image" Target="../media/image68.jpeg"/><Relationship Id="rId2" Type="http://schemas.openxmlformats.org/officeDocument/2006/relationships/tags" Target="../tags/tag22.xml"/><Relationship Id="rId16" Type="http://schemas.openxmlformats.org/officeDocument/2006/relationships/image" Target="../media/image96.jpeg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3.jpeg"/><Relationship Id="rId11" Type="http://schemas.openxmlformats.org/officeDocument/2006/relationships/image" Target="../media/image109.emf"/><Relationship Id="rId5" Type="http://schemas.openxmlformats.org/officeDocument/2006/relationships/image" Target="../media/image92.jpeg"/><Relationship Id="rId15" Type="http://schemas.openxmlformats.org/officeDocument/2006/relationships/image" Target="../media/image76.jpeg"/><Relationship Id="rId10" Type="http://schemas.openxmlformats.org/officeDocument/2006/relationships/image" Target="../media/image106.emf"/><Relationship Id="rId4" Type="http://schemas.openxmlformats.org/officeDocument/2006/relationships/notesSlide" Target="../notesSlides/notesSlide17.xml"/><Relationship Id="rId9" Type="http://schemas.openxmlformats.org/officeDocument/2006/relationships/oleObject" Target="../embeddings/oleObject27.bin"/><Relationship Id="rId14" Type="http://schemas.openxmlformats.org/officeDocument/2006/relationships/image" Target="../media/image75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13" Type="http://schemas.openxmlformats.org/officeDocument/2006/relationships/image" Target="../media/image72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2.jpeg"/><Relationship Id="rId12" Type="http://schemas.openxmlformats.org/officeDocument/2006/relationships/image" Target="../media/image71.jpeg"/><Relationship Id="rId2" Type="http://schemas.openxmlformats.org/officeDocument/2006/relationships/tags" Target="../tags/tag23.xml"/><Relationship Id="rId16" Type="http://schemas.openxmlformats.org/officeDocument/2006/relationships/image" Target="../media/image107.emf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11.jpeg"/><Relationship Id="rId11" Type="http://schemas.openxmlformats.org/officeDocument/2006/relationships/image" Target="../media/image70.jpeg"/><Relationship Id="rId5" Type="http://schemas.openxmlformats.org/officeDocument/2006/relationships/image" Target="../media/image110.jpeg"/><Relationship Id="rId15" Type="http://schemas.openxmlformats.org/officeDocument/2006/relationships/image" Target="../media/image106.emf"/><Relationship Id="rId10" Type="http://schemas.openxmlformats.org/officeDocument/2006/relationships/image" Target="../media/image69.jpe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67.jpeg"/><Relationship Id="rId14" Type="http://schemas.openxmlformats.org/officeDocument/2006/relationships/image" Target="../media/image113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jpeg"/><Relationship Id="rId13" Type="http://schemas.openxmlformats.org/officeDocument/2006/relationships/image" Target="../media/image108.emf"/><Relationship Id="rId18" Type="http://schemas.openxmlformats.org/officeDocument/2006/relationships/image" Target="../media/image3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7.jpeg"/><Relationship Id="rId12" Type="http://schemas.openxmlformats.org/officeDocument/2006/relationships/image" Target="../media/image106.emf"/><Relationship Id="rId17" Type="http://schemas.openxmlformats.org/officeDocument/2006/relationships/image" Target="../media/image97.jpeg"/><Relationship Id="rId2" Type="http://schemas.openxmlformats.org/officeDocument/2006/relationships/tags" Target="../tags/tag24.xml"/><Relationship Id="rId16" Type="http://schemas.openxmlformats.org/officeDocument/2006/relationships/image" Target="../media/image98.jpeg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9.bin"/><Relationship Id="rId11" Type="http://schemas.openxmlformats.org/officeDocument/2006/relationships/image" Target="../media/image91.jpeg"/><Relationship Id="rId5" Type="http://schemas.openxmlformats.org/officeDocument/2006/relationships/image" Target="../media/image36.jpeg"/><Relationship Id="rId15" Type="http://schemas.openxmlformats.org/officeDocument/2006/relationships/image" Target="../media/image99.jpeg"/><Relationship Id="rId10" Type="http://schemas.openxmlformats.org/officeDocument/2006/relationships/image" Target="../media/image90.jpe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89.jpeg"/><Relationship Id="rId14" Type="http://schemas.openxmlformats.org/officeDocument/2006/relationships/image" Target="../media/image114.emf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jpeg"/><Relationship Id="rId13" Type="http://schemas.openxmlformats.org/officeDocument/2006/relationships/image" Target="../media/image123.jpeg"/><Relationship Id="rId18" Type="http://schemas.openxmlformats.org/officeDocument/2006/relationships/image" Target="../media/image127.jpeg"/><Relationship Id="rId3" Type="http://schemas.openxmlformats.org/officeDocument/2006/relationships/slideLayout" Target="../slideLayouts/slideLayout1.xml"/><Relationship Id="rId21" Type="http://schemas.openxmlformats.org/officeDocument/2006/relationships/image" Target="../media/image35.jpeg"/><Relationship Id="rId7" Type="http://schemas.openxmlformats.org/officeDocument/2006/relationships/image" Target="../media/image117.jpeg"/><Relationship Id="rId12" Type="http://schemas.openxmlformats.org/officeDocument/2006/relationships/image" Target="../media/image122.jpeg"/><Relationship Id="rId17" Type="http://schemas.openxmlformats.org/officeDocument/2006/relationships/image" Target="../media/image126.jpeg"/><Relationship Id="rId2" Type="http://schemas.openxmlformats.org/officeDocument/2006/relationships/tags" Target="../tags/tag25.xml"/><Relationship Id="rId16" Type="http://schemas.openxmlformats.org/officeDocument/2006/relationships/image" Target="../media/image125.jpeg"/><Relationship Id="rId20" Type="http://schemas.openxmlformats.org/officeDocument/2006/relationships/image" Target="../media/image36.jpeg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16.jpeg"/><Relationship Id="rId11" Type="http://schemas.openxmlformats.org/officeDocument/2006/relationships/image" Target="../media/image121.jpeg"/><Relationship Id="rId5" Type="http://schemas.openxmlformats.org/officeDocument/2006/relationships/image" Target="../media/image115.jpeg"/><Relationship Id="rId15" Type="http://schemas.openxmlformats.org/officeDocument/2006/relationships/hyperlink" Target="https://rosuchebnik.ru/product/biologiya-9klass-uchebnik-429048/" TargetMode="External"/><Relationship Id="rId23" Type="http://schemas.openxmlformats.org/officeDocument/2006/relationships/image" Target="../media/image37.jpeg"/><Relationship Id="rId10" Type="http://schemas.openxmlformats.org/officeDocument/2006/relationships/image" Target="../media/image120.jpeg"/><Relationship Id="rId19" Type="http://schemas.openxmlformats.org/officeDocument/2006/relationships/image" Target="../media/image128.png"/><Relationship Id="rId4" Type="http://schemas.openxmlformats.org/officeDocument/2006/relationships/oleObject" Target="../embeddings/oleObject30.bin"/><Relationship Id="rId9" Type="http://schemas.openxmlformats.org/officeDocument/2006/relationships/image" Target="../media/image119.jpeg"/><Relationship Id="rId14" Type="http://schemas.openxmlformats.org/officeDocument/2006/relationships/image" Target="../media/image124.jpeg"/><Relationship Id="rId22" Type="http://schemas.openxmlformats.org/officeDocument/2006/relationships/image" Target="../media/image38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13" Type="http://schemas.openxmlformats.org/officeDocument/2006/relationships/hyperlink" Target="https://rosuchebnik.ru/product/biologiya-9klass-uchebnik-429048/" TargetMode="External"/><Relationship Id="rId18" Type="http://schemas.openxmlformats.org/officeDocument/2006/relationships/hyperlink" Target="https://rosuchebnik.ru/kompleks/umk-liniya-umk-mirkina-ekologiya-10-11/#actlink" TargetMode="External"/><Relationship Id="rId3" Type="http://schemas.openxmlformats.org/officeDocument/2006/relationships/image" Target="../media/image34.jpeg"/><Relationship Id="rId21" Type="http://schemas.openxmlformats.org/officeDocument/2006/relationships/image" Target="../media/image133.jpeg"/><Relationship Id="rId7" Type="http://schemas.openxmlformats.org/officeDocument/2006/relationships/hyperlink" Target="https://rosuchebnik.ru/product/biologiya-9klass-uchebnik-581143/" TargetMode="External"/><Relationship Id="rId12" Type="http://schemas.openxmlformats.org/officeDocument/2006/relationships/image" Target="../media/image130.jpeg"/><Relationship Id="rId17" Type="http://schemas.openxmlformats.org/officeDocument/2006/relationships/image" Target="../media/image38.jpeg"/><Relationship Id="rId2" Type="http://schemas.openxmlformats.org/officeDocument/2006/relationships/hyperlink" Target="https://rosuchebnik.ru/product/obshchaya-biologiya-bazovyy-uroven-11-klass-uchebnik-424417/" TargetMode="External"/><Relationship Id="rId16" Type="http://schemas.openxmlformats.org/officeDocument/2006/relationships/image" Target="../media/image37.jpeg"/><Relationship Id="rId20" Type="http://schemas.openxmlformats.org/officeDocument/2006/relationships/hyperlink" Target="https://rosuchebnik.ru/product/estestvoznanie-bazovyy-uroven-10-klass-uchebnik-400535/" TargetMode="Externa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29.jpeg"/><Relationship Id="rId11" Type="http://schemas.openxmlformats.org/officeDocument/2006/relationships/hyperlink" Target="https://rosuchebnik.ru/product/vvedenie-v-obshchuyu-biologiyu-9-klass-uchebnik-424498/" TargetMode="External"/><Relationship Id="rId5" Type="http://schemas.openxmlformats.org/officeDocument/2006/relationships/image" Target="../media/image33.jpeg"/><Relationship Id="rId15" Type="http://schemas.openxmlformats.org/officeDocument/2006/relationships/image" Target="../media/image36.jpeg"/><Relationship Id="rId10" Type="http://schemas.openxmlformats.org/officeDocument/2006/relationships/image" Target="../media/image32.jpeg"/><Relationship Id="rId19" Type="http://schemas.openxmlformats.org/officeDocument/2006/relationships/image" Target="../media/image132.jpeg"/><Relationship Id="rId4" Type="http://schemas.openxmlformats.org/officeDocument/2006/relationships/hyperlink" Target="https://rosuchebnik.ru/product/obshchaya-biologiya-10-klass-bazovyy-uroven-vertikal-722959/" TargetMode="External"/><Relationship Id="rId9" Type="http://schemas.openxmlformats.org/officeDocument/2006/relationships/hyperlink" Target="https://rosuchebnik.ru/product/biologiya-9klass-uchebnik/" TargetMode="External"/><Relationship Id="rId14" Type="http://schemas.openxmlformats.org/officeDocument/2006/relationships/image" Target="../media/image131.jpeg"/><Relationship Id="rId22" Type="http://schemas.openxmlformats.org/officeDocument/2006/relationships/image" Target="../media/image134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png"/><Relationship Id="rId3" Type="http://schemas.openxmlformats.org/officeDocument/2006/relationships/image" Target="../media/image136.emf"/><Relationship Id="rId7" Type="http://schemas.openxmlformats.org/officeDocument/2006/relationships/image" Target="../media/image140.png"/><Relationship Id="rId2" Type="http://schemas.openxmlformats.org/officeDocument/2006/relationships/image" Target="../media/image135.em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39.emf"/><Relationship Id="rId11" Type="http://schemas.openxmlformats.org/officeDocument/2006/relationships/image" Target="../media/image144.png"/><Relationship Id="rId5" Type="http://schemas.openxmlformats.org/officeDocument/2006/relationships/image" Target="../media/image138.emf"/><Relationship Id="rId10" Type="http://schemas.openxmlformats.org/officeDocument/2006/relationships/image" Target="../media/image143.png"/><Relationship Id="rId4" Type="http://schemas.openxmlformats.org/officeDocument/2006/relationships/image" Target="../media/image137.emf"/><Relationship Id="rId9" Type="http://schemas.openxmlformats.org/officeDocument/2006/relationships/image" Target="../media/image142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6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45.jpeg"/><Relationship Id="rId11" Type="http://schemas.openxmlformats.org/officeDocument/2006/relationships/image" Target="../media/image150.jpeg"/><Relationship Id="rId5" Type="http://schemas.openxmlformats.org/officeDocument/2006/relationships/oleObject" Target="../embeddings/oleObject31.bin"/><Relationship Id="rId10" Type="http://schemas.openxmlformats.org/officeDocument/2006/relationships/image" Target="../media/image149.jpe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48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4.jpeg"/><Relationship Id="rId13" Type="http://schemas.openxmlformats.org/officeDocument/2006/relationships/image" Target="../media/image158.jpeg"/><Relationship Id="rId3" Type="http://schemas.openxmlformats.org/officeDocument/2006/relationships/hyperlink" Target="https://rosuchebnik.ru/product/ekologiya-givotnyh-7klass-uchebnoe-posobie-344888/" TargetMode="External"/><Relationship Id="rId7" Type="http://schemas.openxmlformats.org/officeDocument/2006/relationships/hyperlink" Target="https://rosuchebnik.ru/product/biosfera-i-chelovechestvo-9klass-uchebnoe-posobie/" TargetMode="External"/><Relationship Id="rId12" Type="http://schemas.openxmlformats.org/officeDocument/2006/relationships/image" Target="../media/image157.jpeg"/><Relationship Id="rId2" Type="http://schemas.openxmlformats.org/officeDocument/2006/relationships/image" Target="../media/image151.gi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3.jpeg"/><Relationship Id="rId11" Type="http://schemas.openxmlformats.org/officeDocument/2006/relationships/image" Target="../media/image156.jpeg"/><Relationship Id="rId5" Type="http://schemas.openxmlformats.org/officeDocument/2006/relationships/hyperlink" Target="https://rosuchebnik.ru/product/ekologiya-cheloveka-kultura-zdorovya-8kl-uchebnoe-posobie-436499/" TargetMode="External"/><Relationship Id="rId10" Type="http://schemas.openxmlformats.org/officeDocument/2006/relationships/image" Target="../media/image155.jpeg"/><Relationship Id="rId4" Type="http://schemas.openxmlformats.org/officeDocument/2006/relationships/image" Target="../media/image152.jpeg"/><Relationship Id="rId9" Type="http://schemas.openxmlformats.org/officeDocument/2006/relationships/hyperlink" Target="https://rosuchebnik.ru/product/ekologiya-rasteniy-6klass-rabochaya-tetrad-427998/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jpeg"/><Relationship Id="rId2" Type="http://schemas.openxmlformats.org/officeDocument/2006/relationships/hyperlink" Target="https://rosuchebnik.ru/kompleks/umk-liniya-umk-mirkina-ekologiya-10-11/#actlink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59.jpeg"/><Relationship Id="rId4" Type="http://schemas.openxmlformats.org/officeDocument/2006/relationships/image" Target="../media/image12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5.jpeg"/><Relationship Id="rId4" Type="http://schemas.openxmlformats.org/officeDocument/2006/relationships/oleObject" Target="../embeddings/oleObject14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3.jpe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162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61.jpeg"/><Relationship Id="rId5" Type="http://schemas.openxmlformats.org/officeDocument/2006/relationships/image" Target="../media/image160.jpeg"/><Relationship Id="rId10" Type="http://schemas.openxmlformats.org/officeDocument/2006/relationships/image" Target="../media/image165.jpeg"/><Relationship Id="rId4" Type="http://schemas.openxmlformats.org/officeDocument/2006/relationships/oleObject" Target="../embeddings/oleObject32.bin"/><Relationship Id="rId9" Type="http://schemas.openxmlformats.org/officeDocument/2006/relationships/image" Target="../media/image164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hyperlink" Target="https://rosuchebnik.ru/product/estestvoznanie-bazovyy-uroven-11-klass-uchebnik-400536/" TargetMode="External"/><Relationship Id="rId3" Type="http://schemas.openxmlformats.org/officeDocument/2006/relationships/image" Target="../media/image166.jpeg"/><Relationship Id="rId7" Type="http://schemas.openxmlformats.org/officeDocument/2006/relationships/image" Target="../media/image133.jpeg"/><Relationship Id="rId2" Type="http://schemas.openxmlformats.org/officeDocument/2006/relationships/hyperlink" Target="https://rosuchebnik.ru/product/estestvoznanie-10-klass-uchebnik-424685/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rosuchebnik.ru/product/estestvoznanie-bazovyy-uroven-10-klass-uchebnik-400535/" TargetMode="External"/><Relationship Id="rId5" Type="http://schemas.openxmlformats.org/officeDocument/2006/relationships/image" Target="../media/image167.jpeg"/><Relationship Id="rId4" Type="http://schemas.openxmlformats.org/officeDocument/2006/relationships/hyperlink" Target="https://rosuchebnik.ru/product/estestvoznanie-11-klass-uchebnik/" TargetMode="External"/><Relationship Id="rId9" Type="http://schemas.openxmlformats.org/officeDocument/2006/relationships/image" Target="../media/image168.jpe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72.png"/><Relationship Id="rId4" Type="http://schemas.openxmlformats.org/officeDocument/2006/relationships/image" Target="../media/image17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png"/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76.png"/><Relationship Id="rId4" Type="http://schemas.openxmlformats.org/officeDocument/2006/relationships/image" Target="../media/image175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0.png"/><Relationship Id="rId3" Type="http://schemas.openxmlformats.org/officeDocument/2006/relationships/image" Target="../media/image177.png"/><Relationship Id="rId7" Type="http://schemas.openxmlformats.org/officeDocument/2006/relationships/image" Target="../media/image179.jpeg"/><Relationship Id="rId2" Type="http://schemas.openxmlformats.org/officeDocument/2006/relationships/hyperlink" Target="https://rosuchebnik.ru/" TargetMode="Externa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rosuchebnik.ru/product/5-11kl-suhova-t-s-isakova-s-n-biologiya-programmy-s-cd-diskom/" TargetMode="External"/><Relationship Id="rId5" Type="http://schemas.openxmlformats.org/officeDocument/2006/relationships/image" Target="../media/image178.jpeg"/><Relationship Id="rId4" Type="http://schemas.openxmlformats.org/officeDocument/2006/relationships/hyperlink" Target="https://rosuchebnik.ru/product/biologiya-10-11-klassy-rabochie-programmy-408080/" TargetMode="External"/><Relationship Id="rId9" Type="http://schemas.openxmlformats.org/officeDocument/2006/relationships/image" Target="../media/image18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6.png"/><Relationship Id="rId2" Type="http://schemas.openxmlformats.org/officeDocument/2006/relationships/image" Target="../media/image185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88.png"/><Relationship Id="rId4" Type="http://schemas.openxmlformats.org/officeDocument/2006/relationships/image" Target="../media/image18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0.png"/><Relationship Id="rId2" Type="http://schemas.openxmlformats.org/officeDocument/2006/relationships/image" Target="../media/image18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3.png"/><Relationship Id="rId5" Type="http://schemas.openxmlformats.org/officeDocument/2006/relationships/image" Target="../media/image192.png"/><Relationship Id="rId4" Type="http://schemas.openxmlformats.org/officeDocument/2006/relationships/image" Target="../media/image19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png"/><Relationship Id="rId2" Type="http://schemas.openxmlformats.org/officeDocument/2006/relationships/image" Target="../media/image19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7.png"/><Relationship Id="rId4" Type="http://schemas.openxmlformats.org/officeDocument/2006/relationships/image" Target="../media/image19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arant.ru/" TargetMode="External"/><Relationship Id="rId7" Type="http://schemas.openxmlformats.org/officeDocument/2006/relationships/hyperlink" Target="http://&#1084;&#1080;&#1085;&#1086;&#1073;&#1088;&#1085;&#1072;&#1091;&#1082;&#1080;.&#1088;&#1092;/&#1076;&#1086;&#1082;&#1091;&#1084;&#1077;&#1085;&#1090;&#1099;/4021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&#1084;&#1080;&#1085;&#1086;&#1073;&#1088;&#1085;&#1072;&#1091;&#1082;&#1080;.&#1088;&#1092;/&#1076;&#1086;&#1082;&#1091;&#1084;&#1077;&#1085;&#1090;&#1099;" TargetMode="External"/><Relationship Id="rId5" Type="http://schemas.openxmlformats.org/officeDocument/2006/relationships/hyperlink" Target="http://www.fpu.edu.ru/fpu" TargetMode="External"/><Relationship Id="rId4" Type="http://schemas.openxmlformats.org/officeDocument/2006/relationships/hyperlink" Target="http://www.consultant.ru/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9.png"/><Relationship Id="rId2" Type="http://schemas.openxmlformats.org/officeDocument/2006/relationships/image" Target="../media/image19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0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0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02.png"/><Relationship Id="rId5" Type="http://schemas.openxmlformats.org/officeDocument/2006/relationships/image" Target="../media/image201.png"/><Relationship Id="rId10" Type="http://schemas.openxmlformats.org/officeDocument/2006/relationships/image" Target="../media/image206.jpeg"/><Relationship Id="rId4" Type="http://schemas.openxmlformats.org/officeDocument/2006/relationships/oleObject" Target="../embeddings/oleObject33.bin"/><Relationship Id="rId9" Type="http://schemas.openxmlformats.org/officeDocument/2006/relationships/image" Target="../media/image205.jpe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hyperlink" Target="https://lecta.rosuchebnik.ru/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0.png"/><Relationship Id="rId2" Type="http://schemas.openxmlformats.org/officeDocument/2006/relationships/tags" Target="../tags/tag2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09.emf"/><Relationship Id="rId5" Type="http://schemas.openxmlformats.org/officeDocument/2006/relationships/image" Target="../media/image208.jpeg"/><Relationship Id="rId4" Type="http://schemas.openxmlformats.org/officeDocument/2006/relationships/oleObject" Target="../embeddings/oleObject34.bin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3.emf"/><Relationship Id="rId13" Type="http://schemas.openxmlformats.org/officeDocument/2006/relationships/image" Target="../media/image218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12.emf"/><Relationship Id="rId12" Type="http://schemas.openxmlformats.org/officeDocument/2006/relationships/image" Target="../media/image217.emf"/><Relationship Id="rId2" Type="http://schemas.openxmlformats.org/officeDocument/2006/relationships/tags" Target="../tags/tag29.xml"/><Relationship Id="rId1" Type="http://schemas.openxmlformats.org/officeDocument/2006/relationships/vmlDrawing" Target="../drawings/vmlDrawing34.vml"/><Relationship Id="rId6" Type="http://schemas.openxmlformats.org/officeDocument/2006/relationships/hyperlink" Target="https://lecta.rosuchebnik.ru/" TargetMode="External"/><Relationship Id="rId11" Type="http://schemas.openxmlformats.org/officeDocument/2006/relationships/image" Target="../media/image216.emf"/><Relationship Id="rId5" Type="http://schemas.openxmlformats.org/officeDocument/2006/relationships/image" Target="../media/image211.png"/><Relationship Id="rId10" Type="http://schemas.openxmlformats.org/officeDocument/2006/relationships/image" Target="../media/image215.emf"/><Relationship Id="rId4" Type="http://schemas.openxmlformats.org/officeDocument/2006/relationships/oleObject" Target="../embeddings/oleObject35.bin"/><Relationship Id="rId9" Type="http://schemas.openxmlformats.org/officeDocument/2006/relationships/image" Target="../media/image214.emf"/><Relationship Id="rId14" Type="http://schemas.openxmlformats.org/officeDocument/2006/relationships/image" Target="../media/image21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5.vml"/><Relationship Id="rId4" Type="http://schemas.openxmlformats.org/officeDocument/2006/relationships/image" Target="../media/image22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png"/><Relationship Id="rId2" Type="http://schemas.openxmlformats.org/officeDocument/2006/relationships/image" Target="../media/image22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6.png"/><Relationship Id="rId5" Type="http://schemas.openxmlformats.org/officeDocument/2006/relationships/image" Target="../media/image225.png"/><Relationship Id="rId4" Type="http://schemas.openxmlformats.org/officeDocument/2006/relationships/image" Target="../media/image22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6.vml"/><Relationship Id="rId4" Type="http://schemas.openxmlformats.org/officeDocument/2006/relationships/image" Target="../media/image221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hyperlink" Target="mailto:metod@rosuchebnik.ru" TargetMode="External"/><Relationship Id="rId13" Type="http://schemas.openxmlformats.org/officeDocument/2006/relationships/hyperlink" Target="mailto:info@rosuchebnik.ru" TargetMode="External"/><Relationship Id="rId3" Type="http://schemas.openxmlformats.org/officeDocument/2006/relationships/oleObject" Target="../embeddings/oleObject38.bin"/><Relationship Id="rId7" Type="http://schemas.openxmlformats.org/officeDocument/2006/relationships/image" Target="../media/image230.png"/><Relationship Id="rId12" Type="http://schemas.openxmlformats.org/officeDocument/2006/relationships/image" Target="../media/image233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29.png"/><Relationship Id="rId11" Type="http://schemas.openxmlformats.org/officeDocument/2006/relationships/image" Target="../media/image232.png"/><Relationship Id="rId5" Type="http://schemas.openxmlformats.org/officeDocument/2006/relationships/image" Target="../media/image228.png"/><Relationship Id="rId10" Type="http://schemas.openxmlformats.org/officeDocument/2006/relationships/image" Target="../media/image231.tiff"/><Relationship Id="rId4" Type="http://schemas.openxmlformats.org/officeDocument/2006/relationships/image" Target="../media/image227.png"/><Relationship Id="rId9" Type="http://schemas.openxmlformats.org/officeDocument/2006/relationships/hyperlink" Target="http://book24.ru/" TargetMode="External"/><Relationship Id="rId14" Type="http://schemas.openxmlformats.org/officeDocument/2006/relationships/image" Target="../media/image3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acebook.com/profile.php?id=100003341702549" TargetMode="External"/><Relationship Id="rId2" Type="http://schemas.openxmlformats.org/officeDocument/2006/relationships/hyperlink" Target="mailto:Dolzhenkova.NO@rosuchebnik.ru" TargetMode="Externa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34.jpeg"/><Relationship Id="rId4" Type="http://schemas.openxmlformats.org/officeDocument/2006/relationships/hyperlink" Target="https://vk.com/id4891094" TargetMode="Externa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image" Target="../media/image235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7.jpeg"/><Relationship Id="rId2" Type="http://schemas.openxmlformats.org/officeDocument/2006/relationships/image" Target="../media/image236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40.jpeg"/><Relationship Id="rId5" Type="http://schemas.openxmlformats.org/officeDocument/2006/relationships/image" Target="../media/image239.jpeg"/><Relationship Id="rId4" Type="http://schemas.openxmlformats.org/officeDocument/2006/relationships/image" Target="../media/image238.jpe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1.jpeg"/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2.jpe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3.jpe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4.emf"/><Relationship Id="rId2" Type="http://schemas.openxmlformats.org/officeDocument/2006/relationships/tags" Target="../tags/tag1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27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6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8.png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704498428"/>
              </p:ext>
            </p:extLst>
          </p:nvPr>
        </p:nvGraphicFramePr>
        <p:xfrm>
          <a:off x="1193" y="858441"/>
          <a:ext cx="1191" cy="1191"/>
        </p:xfrm>
        <a:graphic>
          <a:graphicData uri="http://schemas.openxmlformats.org/presentationml/2006/ole">
            <p:oleObj spid="_x0000_s356436" name="think-cell Slide" r:id="rId4" imgW="360" imgH="360" progId="">
              <p:embed/>
            </p:oleObj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>
          <a:xfrm>
            <a:off x="11" y="857250"/>
            <a:ext cx="119063" cy="11906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2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092031" y="445500"/>
            <a:ext cx="34289" cy="1321468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>
              <a:solidFill>
                <a:srgbClr val="EB2049"/>
              </a:solidFill>
            </a:endParaRPr>
          </a:p>
        </p:txBody>
      </p:sp>
      <p:sp>
        <p:nvSpPr>
          <p:cNvPr id="8" name="Заголовок 4"/>
          <p:cNvSpPr>
            <a:spLocks noGrp="1"/>
          </p:cNvSpPr>
          <p:nvPr>
            <p:ph type="ctrTitle"/>
          </p:nvPr>
        </p:nvSpPr>
        <p:spPr>
          <a:xfrm>
            <a:off x="564788" y="2364160"/>
            <a:ext cx="8068235" cy="2091325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/>
            <a:r>
              <a:rPr lang="ru-RU" sz="3600" dirty="0" smtClean="0"/>
              <a:t>Ресурсы и сервисы</a:t>
            </a:r>
            <a:br>
              <a:rPr lang="ru-RU" sz="3600" dirty="0" smtClean="0"/>
            </a:br>
            <a:r>
              <a:rPr lang="ru-RU" sz="3600" dirty="0" smtClean="0"/>
              <a:t>корпорации «</a:t>
            </a:r>
            <a:r>
              <a:rPr lang="ru-RU" sz="3600" dirty="0" smtClean="0">
                <a:solidFill>
                  <a:srgbClr val="FF0000"/>
                </a:solidFill>
              </a:rPr>
              <a:t>Российский учебник</a:t>
            </a:r>
            <a:r>
              <a:rPr lang="ru-RU" sz="3600" dirty="0" smtClean="0"/>
              <a:t>» в инновационном образовательном пространстве школы</a:t>
            </a:r>
            <a:r>
              <a:rPr lang="ru-RU" sz="3600" dirty="0">
                <a:latin typeface="+mn-lt"/>
              </a:rPr>
              <a:t/>
            </a:r>
            <a:br>
              <a:rPr lang="ru-RU" sz="3600" dirty="0">
                <a:latin typeface="+mn-lt"/>
              </a:rPr>
            </a:br>
            <a:r>
              <a:rPr lang="ru-RU" sz="3600" dirty="0" smtClean="0">
                <a:latin typeface="+mn-lt"/>
              </a:rPr>
              <a:t/>
            </a:r>
            <a:br>
              <a:rPr lang="ru-RU" sz="3600" dirty="0" smtClean="0">
                <a:latin typeface="+mn-lt"/>
              </a:rPr>
            </a:br>
            <a:r>
              <a:rPr lang="ru-RU" sz="2000" dirty="0" smtClean="0"/>
              <a:t>ведущий методист Долженкова Наталья Олеговна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2000" dirty="0" smtClean="0"/>
              <a:t>2019г.</a:t>
            </a:r>
            <a:r>
              <a:rPr lang="ru-RU" sz="1200" dirty="0" smtClean="0">
                <a:solidFill>
                  <a:schemeClr val="accent2"/>
                </a:solidFill>
              </a:rPr>
              <a:t/>
            </a:r>
            <a:br>
              <a:rPr lang="ru-RU" sz="1200" dirty="0" smtClean="0">
                <a:solidFill>
                  <a:schemeClr val="accent2"/>
                </a:solidFill>
              </a:rPr>
            </a:br>
            <a:endParaRPr lang="ru-RU" sz="1200" dirty="0">
              <a:latin typeface="+mn-lt"/>
            </a:endParaRPr>
          </a:p>
        </p:txBody>
      </p:sp>
      <p:grpSp>
        <p:nvGrpSpPr>
          <p:cNvPr id="25" name="Группа 24"/>
          <p:cNvGrpSpPr/>
          <p:nvPr/>
        </p:nvGrpSpPr>
        <p:grpSpPr>
          <a:xfrm>
            <a:off x="14" y="6678554"/>
            <a:ext cx="9143999" cy="184556"/>
            <a:chOff x="0" y="6617108"/>
            <a:chExt cx="9144000" cy="287867"/>
          </a:xfrm>
          <a:solidFill>
            <a:srgbClr val="2D3494"/>
          </a:solidFill>
        </p:grpSpPr>
        <p:sp>
          <p:nvSpPr>
            <p:cNvPr id="26" name="Rectangle 28"/>
            <p:cNvSpPr>
              <a:spLocks noChangeArrowheads="1"/>
            </p:cNvSpPr>
            <p:nvPr/>
          </p:nvSpPr>
          <p:spPr bwMode="auto">
            <a:xfrm>
              <a:off x="0" y="6617108"/>
              <a:ext cx="9144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350">
                <a:solidFill>
                  <a:srgbClr val="FFFFFF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57114" y="6680262"/>
              <a:ext cx="3600000" cy="164148"/>
            </a:xfrm>
            <a:prstGeom prst="rect">
              <a:avLst/>
            </a:prstGeom>
            <a:grp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en-US" sz="6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 </a:t>
              </a:r>
              <a:r>
                <a:rPr lang="ru-RU" sz="6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рпорация «Российский учебник»</a:t>
              </a: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367474" y="587565"/>
            <a:ext cx="2347165" cy="915924"/>
            <a:chOff x="6514125" y="1582513"/>
            <a:chExt cx="2398321" cy="978759"/>
          </a:xfrm>
        </p:grpSpPr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514125" y="1582513"/>
              <a:ext cx="2390186" cy="581179"/>
            </a:xfrm>
            <a:prstGeom prst="rect">
              <a:avLst/>
            </a:prstGeom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4" name="Прямоугольник 3"/>
          <p:cNvSpPr/>
          <p:nvPr/>
        </p:nvSpPr>
        <p:spPr>
          <a:xfrm>
            <a:off x="3067150" y="445500"/>
            <a:ext cx="50468" cy="1321468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21985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092337455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p:oleObj spid="_x0000_s423938" name="think-cell Slide" r:id="rId5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1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36142" y="3994982"/>
            <a:ext cx="4305179" cy="2232000"/>
          </a:xfrm>
          <a:prstGeom prst="rect">
            <a:avLst/>
          </a:prstGeom>
          <a:solidFill>
            <a:schemeClr val="bg1"/>
          </a:solidFill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25846" y="1198283"/>
            <a:ext cx="4305179" cy="2588906"/>
          </a:xfrm>
          <a:prstGeom prst="rect">
            <a:avLst/>
          </a:prstGeom>
          <a:solidFill>
            <a:schemeClr val="bg1"/>
          </a:solidFill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02699" y="1601365"/>
            <a:ext cx="4041099" cy="2400571"/>
          </a:xfrm>
          <a:ln>
            <a:noFill/>
          </a:ln>
        </p:spPr>
        <p:txBody>
          <a:bodyPr/>
          <a:lstStyle/>
          <a:p>
            <a:r>
              <a:rPr lang="ru-RU" b="1" dirty="0">
                <a:latin typeface="+mn-lt"/>
              </a:rPr>
              <a:t>Статья </a:t>
            </a:r>
            <a:r>
              <a:rPr lang="ru-RU" b="1" dirty="0" smtClean="0">
                <a:latin typeface="+mn-lt"/>
              </a:rPr>
              <a:t>18, пункт 4 Федерального Закона </a:t>
            </a:r>
            <a:r>
              <a:rPr lang="ru-RU" b="1" dirty="0">
                <a:latin typeface="+mn-lt"/>
              </a:rPr>
              <a:t>«Об образовании в Российской Федерации» №</a:t>
            </a:r>
            <a:r>
              <a:rPr lang="en-US" b="1" dirty="0">
                <a:latin typeface="+mn-lt"/>
              </a:rPr>
              <a:t>273-</a:t>
            </a:r>
            <a:r>
              <a:rPr lang="ru-RU" b="1" dirty="0">
                <a:latin typeface="+mn-lt"/>
              </a:rPr>
              <a:t>ФЗ:</a:t>
            </a:r>
          </a:p>
          <a:p>
            <a:r>
              <a:rPr lang="ru-RU" b="1" i="1" dirty="0" smtClean="0">
                <a:solidFill>
                  <a:srgbClr val="2D3494"/>
                </a:solidFill>
                <a:latin typeface="+mn-lt"/>
              </a:rPr>
              <a:t>Организации</a:t>
            </a:r>
            <a:r>
              <a:rPr lang="ru-RU" i="1" dirty="0">
                <a:latin typeface="+mn-lt"/>
              </a:rPr>
              <a:t>, осуществляющие образовательную </a:t>
            </a:r>
            <a:r>
              <a:rPr lang="ru-RU" i="1" dirty="0" smtClean="0">
                <a:latin typeface="+mn-lt"/>
              </a:rPr>
              <a:t>деятельность… </a:t>
            </a:r>
            <a:r>
              <a:rPr lang="ru-RU" b="1" i="1" dirty="0">
                <a:solidFill>
                  <a:srgbClr val="2D3494"/>
                </a:solidFill>
                <a:latin typeface="+mn-lt"/>
              </a:rPr>
              <a:t>для использования </a:t>
            </a:r>
            <a:r>
              <a:rPr lang="ru-RU" i="1" dirty="0">
                <a:latin typeface="+mn-lt"/>
              </a:rPr>
              <a:t>при реализации указанных образовательных программ </a:t>
            </a:r>
            <a:r>
              <a:rPr lang="ru-RU" b="1" i="1" dirty="0">
                <a:solidFill>
                  <a:srgbClr val="2D3494"/>
                </a:solidFill>
                <a:latin typeface="+mn-lt"/>
              </a:rPr>
              <a:t>выбирают</a:t>
            </a:r>
            <a:r>
              <a:rPr lang="ru-RU" i="1" dirty="0">
                <a:latin typeface="+mn-lt"/>
              </a:rPr>
              <a:t>:</a:t>
            </a:r>
          </a:p>
          <a:p>
            <a:pPr marL="628650" indent="-342900">
              <a:buFont typeface="+mj-lt"/>
              <a:buAutoNum type="arabicParenR"/>
            </a:pPr>
            <a:r>
              <a:rPr lang="ru-RU" i="1" dirty="0">
                <a:latin typeface="+mn-lt"/>
              </a:rPr>
              <a:t>учебники из числа входящих в федеральный перечень </a:t>
            </a:r>
            <a:r>
              <a:rPr lang="ru-RU" i="1" dirty="0" smtClean="0">
                <a:latin typeface="+mn-lt"/>
              </a:rPr>
              <a:t>учебников… ;</a:t>
            </a:r>
            <a:endParaRPr lang="ru-RU" i="1" dirty="0">
              <a:latin typeface="+mn-lt"/>
            </a:endParaRPr>
          </a:p>
          <a:p>
            <a:pPr marL="628650" indent="-342900">
              <a:buFont typeface="+mj-lt"/>
              <a:buAutoNum type="arabicParenR"/>
            </a:pPr>
            <a:r>
              <a:rPr lang="ru-RU" b="1" i="1" dirty="0">
                <a:solidFill>
                  <a:srgbClr val="2D3494"/>
                </a:solidFill>
                <a:latin typeface="+mn-lt"/>
              </a:rPr>
              <a:t>учебные пособия</a:t>
            </a:r>
            <a:r>
              <a:rPr lang="ru-RU" i="1" dirty="0">
                <a:latin typeface="+mn-lt"/>
              </a:rPr>
              <a:t>, выпущенные организациями, входящими в перечень организаций, осуществляющих выпуск учебных </a:t>
            </a:r>
            <a:r>
              <a:rPr lang="ru-RU" i="1" dirty="0" smtClean="0">
                <a:latin typeface="+mn-lt"/>
              </a:rPr>
              <a:t>пособий…</a:t>
            </a:r>
            <a:endParaRPr lang="ru-RU" i="1" dirty="0">
              <a:latin typeface="+mn-lt"/>
            </a:endParaRPr>
          </a:p>
        </p:txBody>
      </p:sp>
      <p:sp>
        <p:nvSpPr>
          <p:cNvPr id="18" name="Freeform 48"/>
          <p:cNvSpPr>
            <a:spLocks/>
          </p:cNvSpPr>
          <p:nvPr/>
        </p:nvSpPr>
        <p:spPr bwMode="auto">
          <a:xfrm rot="16415696" flipV="1">
            <a:off x="3738212" y="260034"/>
            <a:ext cx="460707" cy="1690532"/>
          </a:xfrm>
          <a:custGeom>
            <a:avLst/>
            <a:gdLst/>
            <a:ahLst/>
            <a:cxnLst>
              <a:cxn ang="0">
                <a:pos x="74" y="5108"/>
              </a:cxn>
              <a:cxn ang="0">
                <a:pos x="289" y="4928"/>
              </a:cxn>
              <a:cxn ang="0">
                <a:pos x="490" y="4733"/>
              </a:cxn>
              <a:cxn ang="0">
                <a:pos x="615" y="4593"/>
              </a:cxn>
              <a:cxn ang="0">
                <a:pos x="791" y="4373"/>
              </a:cxn>
              <a:cxn ang="0">
                <a:pos x="949" y="4137"/>
              </a:cxn>
              <a:cxn ang="0">
                <a:pos x="1045" y="3975"/>
              </a:cxn>
              <a:cxn ang="0">
                <a:pos x="1173" y="3720"/>
              </a:cxn>
              <a:cxn ang="0">
                <a:pos x="1282" y="3455"/>
              </a:cxn>
              <a:cxn ang="0">
                <a:pos x="1344" y="3274"/>
              </a:cxn>
              <a:cxn ang="0">
                <a:pos x="1419" y="2997"/>
              </a:cxn>
              <a:cxn ang="0">
                <a:pos x="1473" y="2713"/>
              </a:cxn>
              <a:cxn ang="0">
                <a:pos x="1496" y="2522"/>
              </a:cxn>
              <a:cxn ang="0">
                <a:pos x="1514" y="2232"/>
              </a:cxn>
              <a:cxn ang="0">
                <a:pos x="1511" y="1941"/>
              </a:cxn>
              <a:cxn ang="0">
                <a:pos x="1496" y="1748"/>
              </a:cxn>
              <a:cxn ang="0">
                <a:pos x="1454" y="1457"/>
              </a:cxn>
              <a:cxn ang="0">
                <a:pos x="1391" y="1169"/>
              </a:cxn>
              <a:cxn ang="0">
                <a:pos x="1337" y="981"/>
              </a:cxn>
              <a:cxn ang="0">
                <a:pos x="1237" y="703"/>
              </a:cxn>
              <a:cxn ang="0">
                <a:pos x="1159" y="521"/>
              </a:cxn>
              <a:cxn ang="0">
                <a:pos x="1116" y="432"/>
              </a:cxn>
              <a:cxn ang="0">
                <a:pos x="1071" y="344"/>
              </a:cxn>
              <a:cxn ang="0">
                <a:pos x="1017" y="244"/>
              </a:cxn>
              <a:cxn ang="0">
                <a:pos x="1087" y="124"/>
              </a:cxn>
              <a:cxn ang="0">
                <a:pos x="853" y="56"/>
              </a:cxn>
              <a:cxn ang="0">
                <a:pos x="613" y="10"/>
              </a:cxn>
              <a:cxn ang="0">
                <a:pos x="523" y="81"/>
              </a:cxn>
              <a:cxn ang="0">
                <a:pos x="491" y="314"/>
              </a:cxn>
              <a:cxn ang="0">
                <a:pos x="453" y="534"/>
              </a:cxn>
              <a:cxn ang="0">
                <a:pos x="587" y="512"/>
              </a:cxn>
              <a:cxn ang="0">
                <a:pos x="653" y="612"/>
              </a:cxn>
              <a:cxn ang="0">
                <a:pos x="688" y="667"/>
              </a:cxn>
              <a:cxn ang="0">
                <a:pos x="733" y="741"/>
              </a:cxn>
              <a:cxn ang="0">
                <a:pos x="817" y="894"/>
              </a:cxn>
              <a:cxn ang="0">
                <a:pos x="928" y="1130"/>
              </a:cxn>
              <a:cxn ang="0">
                <a:pos x="993" y="1293"/>
              </a:cxn>
              <a:cxn ang="0">
                <a:pos x="1074" y="1543"/>
              </a:cxn>
              <a:cxn ang="0">
                <a:pos x="1136" y="1801"/>
              </a:cxn>
              <a:cxn ang="0">
                <a:pos x="1166" y="1975"/>
              </a:cxn>
              <a:cxn ang="0">
                <a:pos x="1195" y="2239"/>
              </a:cxn>
              <a:cxn ang="0">
                <a:pos x="1204" y="2507"/>
              </a:cxn>
              <a:cxn ang="0">
                <a:pos x="1198" y="2685"/>
              </a:cxn>
              <a:cxn ang="0">
                <a:pos x="1174" y="2952"/>
              </a:cxn>
              <a:cxn ang="0">
                <a:pos x="1129" y="3219"/>
              </a:cxn>
              <a:cxn ang="0">
                <a:pos x="1087" y="3394"/>
              </a:cxn>
              <a:cxn ang="0">
                <a:pos x="1008" y="3654"/>
              </a:cxn>
              <a:cxn ang="0">
                <a:pos x="910" y="3908"/>
              </a:cxn>
              <a:cxn ang="0">
                <a:pos x="832" y="4073"/>
              </a:cxn>
              <a:cxn ang="0">
                <a:pos x="702" y="4314"/>
              </a:cxn>
              <a:cxn ang="0">
                <a:pos x="552" y="4545"/>
              </a:cxn>
              <a:cxn ang="0">
                <a:pos x="442" y="4693"/>
              </a:cxn>
              <a:cxn ang="0">
                <a:pos x="263" y="4904"/>
              </a:cxn>
              <a:cxn ang="0">
                <a:pos x="68" y="5101"/>
              </a:cxn>
            </a:cxnLst>
            <a:rect l="0" t="0" r="r" b="b"/>
            <a:pathLst>
              <a:path w="1515" h="5165">
                <a:moveTo>
                  <a:pt x="0" y="5165"/>
                </a:moveTo>
                <a:lnTo>
                  <a:pt x="0" y="5165"/>
                </a:lnTo>
                <a:lnTo>
                  <a:pt x="74" y="5108"/>
                </a:lnTo>
                <a:lnTo>
                  <a:pt x="147" y="5050"/>
                </a:lnTo>
                <a:lnTo>
                  <a:pt x="218" y="4990"/>
                </a:lnTo>
                <a:lnTo>
                  <a:pt x="289" y="4928"/>
                </a:lnTo>
                <a:lnTo>
                  <a:pt x="357" y="4864"/>
                </a:lnTo>
                <a:lnTo>
                  <a:pt x="424" y="4800"/>
                </a:lnTo>
                <a:lnTo>
                  <a:pt x="490" y="4733"/>
                </a:lnTo>
                <a:lnTo>
                  <a:pt x="553" y="4664"/>
                </a:lnTo>
                <a:lnTo>
                  <a:pt x="553" y="4664"/>
                </a:lnTo>
                <a:lnTo>
                  <a:pt x="615" y="4593"/>
                </a:lnTo>
                <a:lnTo>
                  <a:pt x="675" y="4522"/>
                </a:lnTo>
                <a:lnTo>
                  <a:pt x="734" y="4448"/>
                </a:lnTo>
                <a:lnTo>
                  <a:pt x="791" y="4373"/>
                </a:lnTo>
                <a:lnTo>
                  <a:pt x="845" y="4296"/>
                </a:lnTo>
                <a:lnTo>
                  <a:pt x="898" y="4217"/>
                </a:lnTo>
                <a:lnTo>
                  <a:pt x="949" y="4137"/>
                </a:lnTo>
                <a:lnTo>
                  <a:pt x="998" y="4057"/>
                </a:lnTo>
                <a:lnTo>
                  <a:pt x="998" y="4057"/>
                </a:lnTo>
                <a:lnTo>
                  <a:pt x="1045" y="3975"/>
                </a:lnTo>
                <a:lnTo>
                  <a:pt x="1090" y="3890"/>
                </a:lnTo>
                <a:lnTo>
                  <a:pt x="1132" y="3806"/>
                </a:lnTo>
                <a:lnTo>
                  <a:pt x="1173" y="3720"/>
                </a:lnTo>
                <a:lnTo>
                  <a:pt x="1212" y="3633"/>
                </a:lnTo>
                <a:lnTo>
                  <a:pt x="1248" y="3544"/>
                </a:lnTo>
                <a:lnTo>
                  <a:pt x="1282" y="3455"/>
                </a:lnTo>
                <a:lnTo>
                  <a:pt x="1314" y="3365"/>
                </a:lnTo>
                <a:lnTo>
                  <a:pt x="1314" y="3365"/>
                </a:lnTo>
                <a:lnTo>
                  <a:pt x="1344" y="3274"/>
                </a:lnTo>
                <a:lnTo>
                  <a:pt x="1370" y="3183"/>
                </a:lnTo>
                <a:lnTo>
                  <a:pt x="1395" y="3091"/>
                </a:lnTo>
                <a:lnTo>
                  <a:pt x="1419" y="2997"/>
                </a:lnTo>
                <a:lnTo>
                  <a:pt x="1438" y="2903"/>
                </a:lnTo>
                <a:lnTo>
                  <a:pt x="1457" y="2808"/>
                </a:lnTo>
                <a:lnTo>
                  <a:pt x="1473" y="2713"/>
                </a:lnTo>
                <a:lnTo>
                  <a:pt x="1485" y="2618"/>
                </a:lnTo>
                <a:lnTo>
                  <a:pt x="1485" y="2618"/>
                </a:lnTo>
                <a:lnTo>
                  <a:pt x="1496" y="2522"/>
                </a:lnTo>
                <a:lnTo>
                  <a:pt x="1505" y="2426"/>
                </a:lnTo>
                <a:lnTo>
                  <a:pt x="1511" y="2329"/>
                </a:lnTo>
                <a:lnTo>
                  <a:pt x="1514" y="2232"/>
                </a:lnTo>
                <a:lnTo>
                  <a:pt x="1515" y="2135"/>
                </a:lnTo>
                <a:lnTo>
                  <a:pt x="1514" y="2038"/>
                </a:lnTo>
                <a:lnTo>
                  <a:pt x="1511" y="1941"/>
                </a:lnTo>
                <a:lnTo>
                  <a:pt x="1504" y="1844"/>
                </a:lnTo>
                <a:lnTo>
                  <a:pt x="1504" y="1844"/>
                </a:lnTo>
                <a:lnTo>
                  <a:pt x="1496" y="1748"/>
                </a:lnTo>
                <a:lnTo>
                  <a:pt x="1484" y="1651"/>
                </a:lnTo>
                <a:lnTo>
                  <a:pt x="1470" y="1554"/>
                </a:lnTo>
                <a:lnTo>
                  <a:pt x="1454" y="1457"/>
                </a:lnTo>
                <a:lnTo>
                  <a:pt x="1436" y="1361"/>
                </a:lnTo>
                <a:lnTo>
                  <a:pt x="1415" y="1265"/>
                </a:lnTo>
                <a:lnTo>
                  <a:pt x="1391" y="1169"/>
                </a:lnTo>
                <a:lnTo>
                  <a:pt x="1365" y="1075"/>
                </a:lnTo>
                <a:lnTo>
                  <a:pt x="1365" y="1075"/>
                </a:lnTo>
                <a:lnTo>
                  <a:pt x="1337" y="981"/>
                </a:lnTo>
                <a:lnTo>
                  <a:pt x="1307" y="888"/>
                </a:lnTo>
                <a:lnTo>
                  <a:pt x="1273" y="794"/>
                </a:lnTo>
                <a:lnTo>
                  <a:pt x="1237" y="703"/>
                </a:lnTo>
                <a:lnTo>
                  <a:pt x="1237" y="703"/>
                </a:lnTo>
                <a:lnTo>
                  <a:pt x="1199" y="611"/>
                </a:lnTo>
                <a:lnTo>
                  <a:pt x="1159" y="521"/>
                </a:lnTo>
                <a:lnTo>
                  <a:pt x="1159" y="521"/>
                </a:lnTo>
                <a:lnTo>
                  <a:pt x="1116" y="432"/>
                </a:lnTo>
                <a:lnTo>
                  <a:pt x="1116" y="432"/>
                </a:lnTo>
                <a:lnTo>
                  <a:pt x="1094" y="387"/>
                </a:lnTo>
                <a:lnTo>
                  <a:pt x="1083" y="365"/>
                </a:lnTo>
                <a:lnTo>
                  <a:pt x="1071" y="344"/>
                </a:lnTo>
                <a:lnTo>
                  <a:pt x="1071" y="344"/>
                </a:lnTo>
                <a:lnTo>
                  <a:pt x="1045" y="293"/>
                </a:lnTo>
                <a:lnTo>
                  <a:pt x="1017" y="244"/>
                </a:lnTo>
                <a:lnTo>
                  <a:pt x="1164" y="152"/>
                </a:lnTo>
                <a:lnTo>
                  <a:pt x="1164" y="152"/>
                </a:lnTo>
                <a:lnTo>
                  <a:pt x="1087" y="124"/>
                </a:lnTo>
                <a:lnTo>
                  <a:pt x="1010" y="98"/>
                </a:lnTo>
                <a:lnTo>
                  <a:pt x="933" y="75"/>
                </a:lnTo>
                <a:lnTo>
                  <a:pt x="853" y="56"/>
                </a:lnTo>
                <a:lnTo>
                  <a:pt x="773" y="37"/>
                </a:lnTo>
                <a:lnTo>
                  <a:pt x="694" y="22"/>
                </a:lnTo>
                <a:lnTo>
                  <a:pt x="613" y="10"/>
                </a:lnTo>
                <a:lnTo>
                  <a:pt x="531" y="0"/>
                </a:lnTo>
                <a:lnTo>
                  <a:pt x="531" y="0"/>
                </a:lnTo>
                <a:lnTo>
                  <a:pt x="523" y="81"/>
                </a:lnTo>
                <a:lnTo>
                  <a:pt x="513" y="161"/>
                </a:lnTo>
                <a:lnTo>
                  <a:pt x="502" y="238"/>
                </a:lnTo>
                <a:lnTo>
                  <a:pt x="491" y="314"/>
                </a:lnTo>
                <a:lnTo>
                  <a:pt x="479" y="389"/>
                </a:lnTo>
                <a:lnTo>
                  <a:pt x="467" y="462"/>
                </a:lnTo>
                <a:lnTo>
                  <a:pt x="453" y="534"/>
                </a:lnTo>
                <a:lnTo>
                  <a:pt x="439" y="604"/>
                </a:lnTo>
                <a:lnTo>
                  <a:pt x="587" y="512"/>
                </a:lnTo>
                <a:lnTo>
                  <a:pt x="587" y="512"/>
                </a:lnTo>
                <a:lnTo>
                  <a:pt x="614" y="553"/>
                </a:lnTo>
                <a:lnTo>
                  <a:pt x="642" y="596"/>
                </a:lnTo>
                <a:lnTo>
                  <a:pt x="653" y="612"/>
                </a:lnTo>
                <a:lnTo>
                  <a:pt x="665" y="630"/>
                </a:lnTo>
                <a:lnTo>
                  <a:pt x="665" y="630"/>
                </a:lnTo>
                <a:lnTo>
                  <a:pt x="688" y="667"/>
                </a:lnTo>
                <a:lnTo>
                  <a:pt x="688" y="667"/>
                </a:lnTo>
                <a:lnTo>
                  <a:pt x="733" y="741"/>
                </a:lnTo>
                <a:lnTo>
                  <a:pt x="733" y="741"/>
                </a:lnTo>
                <a:lnTo>
                  <a:pt x="776" y="817"/>
                </a:lnTo>
                <a:lnTo>
                  <a:pt x="817" y="894"/>
                </a:lnTo>
                <a:lnTo>
                  <a:pt x="817" y="894"/>
                </a:lnTo>
                <a:lnTo>
                  <a:pt x="857" y="972"/>
                </a:lnTo>
                <a:lnTo>
                  <a:pt x="893" y="1050"/>
                </a:lnTo>
                <a:lnTo>
                  <a:pt x="928" y="1130"/>
                </a:lnTo>
                <a:lnTo>
                  <a:pt x="962" y="1211"/>
                </a:lnTo>
                <a:lnTo>
                  <a:pt x="962" y="1211"/>
                </a:lnTo>
                <a:lnTo>
                  <a:pt x="993" y="1293"/>
                </a:lnTo>
                <a:lnTo>
                  <a:pt x="1022" y="1376"/>
                </a:lnTo>
                <a:lnTo>
                  <a:pt x="1049" y="1459"/>
                </a:lnTo>
                <a:lnTo>
                  <a:pt x="1074" y="1543"/>
                </a:lnTo>
                <a:lnTo>
                  <a:pt x="1097" y="1629"/>
                </a:lnTo>
                <a:lnTo>
                  <a:pt x="1117" y="1714"/>
                </a:lnTo>
                <a:lnTo>
                  <a:pt x="1136" y="1801"/>
                </a:lnTo>
                <a:lnTo>
                  <a:pt x="1152" y="1887"/>
                </a:lnTo>
                <a:lnTo>
                  <a:pt x="1152" y="1887"/>
                </a:lnTo>
                <a:lnTo>
                  <a:pt x="1166" y="1975"/>
                </a:lnTo>
                <a:lnTo>
                  <a:pt x="1177" y="2063"/>
                </a:lnTo>
                <a:lnTo>
                  <a:pt x="1188" y="2151"/>
                </a:lnTo>
                <a:lnTo>
                  <a:pt x="1195" y="2239"/>
                </a:lnTo>
                <a:lnTo>
                  <a:pt x="1200" y="2328"/>
                </a:lnTo>
                <a:lnTo>
                  <a:pt x="1203" y="2417"/>
                </a:lnTo>
                <a:lnTo>
                  <a:pt x="1204" y="2507"/>
                </a:lnTo>
                <a:lnTo>
                  <a:pt x="1203" y="2596"/>
                </a:lnTo>
                <a:lnTo>
                  <a:pt x="1203" y="2596"/>
                </a:lnTo>
                <a:lnTo>
                  <a:pt x="1198" y="2685"/>
                </a:lnTo>
                <a:lnTo>
                  <a:pt x="1192" y="2775"/>
                </a:lnTo>
                <a:lnTo>
                  <a:pt x="1184" y="2863"/>
                </a:lnTo>
                <a:lnTo>
                  <a:pt x="1174" y="2952"/>
                </a:lnTo>
                <a:lnTo>
                  <a:pt x="1161" y="3041"/>
                </a:lnTo>
                <a:lnTo>
                  <a:pt x="1146" y="3130"/>
                </a:lnTo>
                <a:lnTo>
                  <a:pt x="1129" y="3219"/>
                </a:lnTo>
                <a:lnTo>
                  <a:pt x="1109" y="3307"/>
                </a:lnTo>
                <a:lnTo>
                  <a:pt x="1109" y="3307"/>
                </a:lnTo>
                <a:lnTo>
                  <a:pt x="1087" y="3394"/>
                </a:lnTo>
                <a:lnTo>
                  <a:pt x="1063" y="3481"/>
                </a:lnTo>
                <a:lnTo>
                  <a:pt x="1037" y="3567"/>
                </a:lnTo>
                <a:lnTo>
                  <a:pt x="1008" y="3654"/>
                </a:lnTo>
                <a:lnTo>
                  <a:pt x="978" y="3739"/>
                </a:lnTo>
                <a:lnTo>
                  <a:pt x="944" y="3824"/>
                </a:lnTo>
                <a:lnTo>
                  <a:pt x="910" y="3908"/>
                </a:lnTo>
                <a:lnTo>
                  <a:pt x="873" y="3991"/>
                </a:lnTo>
                <a:lnTo>
                  <a:pt x="873" y="3991"/>
                </a:lnTo>
                <a:lnTo>
                  <a:pt x="832" y="4073"/>
                </a:lnTo>
                <a:lnTo>
                  <a:pt x="791" y="4154"/>
                </a:lnTo>
                <a:lnTo>
                  <a:pt x="748" y="4234"/>
                </a:lnTo>
                <a:lnTo>
                  <a:pt x="702" y="4314"/>
                </a:lnTo>
                <a:lnTo>
                  <a:pt x="653" y="4391"/>
                </a:lnTo>
                <a:lnTo>
                  <a:pt x="604" y="4469"/>
                </a:lnTo>
                <a:lnTo>
                  <a:pt x="552" y="4545"/>
                </a:lnTo>
                <a:lnTo>
                  <a:pt x="498" y="4619"/>
                </a:lnTo>
                <a:lnTo>
                  <a:pt x="498" y="4619"/>
                </a:lnTo>
                <a:lnTo>
                  <a:pt x="442" y="4693"/>
                </a:lnTo>
                <a:lnTo>
                  <a:pt x="385" y="4764"/>
                </a:lnTo>
                <a:lnTo>
                  <a:pt x="325" y="4834"/>
                </a:lnTo>
                <a:lnTo>
                  <a:pt x="263" y="4904"/>
                </a:lnTo>
                <a:lnTo>
                  <a:pt x="200" y="4971"/>
                </a:lnTo>
                <a:lnTo>
                  <a:pt x="135" y="5036"/>
                </a:lnTo>
                <a:lnTo>
                  <a:pt x="68" y="5101"/>
                </a:lnTo>
                <a:lnTo>
                  <a:pt x="0" y="5165"/>
                </a:lnTo>
                <a:lnTo>
                  <a:pt x="0" y="5165"/>
                </a:lnTo>
                <a:close/>
              </a:path>
            </a:pathLst>
          </a:custGeom>
          <a:solidFill>
            <a:srgbClr val="2F3696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/>
          </a:p>
        </p:txBody>
      </p:sp>
      <p:sp>
        <p:nvSpPr>
          <p:cNvPr id="19" name="Овал 12"/>
          <p:cNvSpPr/>
          <p:nvPr/>
        </p:nvSpPr>
        <p:spPr>
          <a:xfrm>
            <a:off x="125508" y="144392"/>
            <a:ext cx="582706" cy="59930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2800" dirty="0" err="1" smtClean="0">
              <a:solidFill>
                <a:schemeClr val="bg1"/>
              </a:solidFill>
            </a:endParaRPr>
          </a:p>
        </p:txBody>
      </p:sp>
      <p:pic>
        <p:nvPicPr>
          <p:cNvPr id="20" name="Рисунок 16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95216" y="236414"/>
            <a:ext cx="486102" cy="42213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4626018" y="1656883"/>
            <a:ext cx="154619" cy="2038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2" name="Title 2"/>
          <p:cNvSpPr txBox="1">
            <a:spLocks/>
          </p:cNvSpPr>
          <p:nvPr/>
        </p:nvSpPr>
        <p:spPr>
          <a:xfrm>
            <a:off x="689521" y="31763"/>
            <a:ext cx="7631192" cy="8245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dirty="0" smtClean="0">
                <a:latin typeface="+mj-lt"/>
              </a:rPr>
              <a:t>ВСЕМ ИЗВЕСТНО, ЧТО ЗАКОН </a:t>
            </a:r>
            <a:r>
              <a:rPr lang="ru-RU" dirty="0">
                <a:latin typeface="+mj-lt"/>
              </a:rPr>
              <a:t>ПОЗВОЛЯЕТ </a:t>
            </a:r>
            <a:r>
              <a:rPr lang="ru-RU" dirty="0" smtClean="0">
                <a:solidFill>
                  <a:srgbClr val="EB2049"/>
                </a:solidFill>
                <a:latin typeface="+mj-lt"/>
              </a:rPr>
              <a:t>ИСПОЛЬЗОВАТЬ </a:t>
            </a:r>
            <a:r>
              <a:rPr lang="ru-RU" dirty="0">
                <a:solidFill>
                  <a:srgbClr val="EB2049"/>
                </a:solidFill>
                <a:latin typeface="+mj-lt"/>
              </a:rPr>
              <a:t>УЧЕБНЫЕ ПОСОБИЯ</a:t>
            </a:r>
            <a:r>
              <a:rPr lang="ru-RU" dirty="0">
                <a:latin typeface="+mj-lt"/>
              </a:rPr>
              <a:t> </a:t>
            </a:r>
            <a:r>
              <a:rPr lang="ru-RU" dirty="0" smtClean="0">
                <a:latin typeface="+mj-lt"/>
              </a:rPr>
              <a:t>В ОБРАЗОВАТЕЛЬНОМ ПРОЦЕССЕ</a:t>
            </a:r>
            <a:endParaRPr lang="ru-RU" dirty="0">
              <a:latin typeface="+mj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66058" y="3994957"/>
            <a:ext cx="4214375" cy="20544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/>
            <a:r>
              <a:rPr lang="ru-RU" sz="1400" b="1" dirty="0" smtClean="0">
                <a:solidFill>
                  <a:srgbClr val="000000"/>
                </a:solidFill>
              </a:rPr>
              <a:t>ГОСТ 7-60.2003, раздел </a:t>
            </a:r>
            <a:r>
              <a:rPr lang="ru-RU" sz="1400" b="1" dirty="0"/>
              <a:t>3.2.4.3.4. </a:t>
            </a:r>
            <a:r>
              <a:rPr lang="ru-RU" sz="1400" b="1" dirty="0" smtClean="0"/>
              <a:t>Учебные издания</a:t>
            </a:r>
            <a:r>
              <a:rPr lang="ru-RU" sz="1400" b="1" dirty="0" smtClean="0">
                <a:solidFill>
                  <a:srgbClr val="000000"/>
                </a:solidFill>
              </a:rPr>
              <a:t>:</a:t>
            </a:r>
          </a:p>
          <a:p>
            <a:pPr marL="177800">
              <a:spcBef>
                <a:spcPts val="600"/>
              </a:spcBef>
            </a:pPr>
            <a:r>
              <a:rPr lang="ru-RU" sz="1050" b="1" i="1" dirty="0" smtClean="0">
                <a:solidFill>
                  <a:srgbClr val="2D3494"/>
                </a:solidFill>
              </a:rPr>
              <a:t>Учебник:</a:t>
            </a:r>
            <a:r>
              <a:rPr lang="ru-RU" sz="1400" b="1" i="1" dirty="0" smtClean="0">
                <a:solidFill>
                  <a:srgbClr val="2D3494"/>
                </a:solidFill>
              </a:rPr>
              <a:t> </a:t>
            </a:r>
            <a:r>
              <a:rPr lang="ru-RU" sz="1050" i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Учебное </a:t>
            </a:r>
            <a:r>
              <a:rPr lang="ru-RU" sz="1050" i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издание, содержащее систематическое изложение учебной дисциплины, ее раздела, части, соответствующее учебной программе, и официально утвержденное в качестве данного вида </a:t>
            </a:r>
            <a:r>
              <a:rPr lang="ru-RU" sz="1050" i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издания.</a:t>
            </a:r>
          </a:p>
          <a:p>
            <a:pPr marL="177800"/>
            <a:endParaRPr lang="ru-RU" sz="1400" i="1" dirty="0" smtClean="0">
              <a:solidFill>
                <a:srgbClr val="000000"/>
              </a:solidFill>
            </a:endParaRPr>
          </a:p>
          <a:p>
            <a:pPr marL="177800"/>
            <a:r>
              <a:rPr lang="ru-RU" sz="1050" b="1" i="1" dirty="0">
                <a:solidFill>
                  <a:srgbClr val="2D3494"/>
                </a:solidFill>
              </a:rPr>
              <a:t>Учебное пособие:</a:t>
            </a:r>
            <a:r>
              <a:rPr lang="ru-RU" sz="1400" b="1" i="1" dirty="0"/>
              <a:t> </a:t>
            </a:r>
            <a:r>
              <a:rPr lang="ru-RU" sz="1050" i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Учебное издание, дополняющее или </a:t>
            </a:r>
            <a:r>
              <a:rPr lang="ru-RU" sz="1050" i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   </a:t>
            </a:r>
            <a:r>
              <a:rPr lang="ru-RU" sz="1400" i="1" dirty="0" smtClean="0"/>
              <a:t>           </a:t>
            </a:r>
            <a:r>
              <a:rPr lang="ru-RU" sz="1050" b="1" i="1" dirty="0" smtClean="0">
                <a:solidFill>
                  <a:srgbClr val="2D3494"/>
                </a:solidFill>
              </a:rPr>
              <a:t>заменяющее </a:t>
            </a:r>
            <a:r>
              <a:rPr lang="ru-RU" sz="1050" b="1" i="1" dirty="0">
                <a:solidFill>
                  <a:srgbClr val="2D3494"/>
                </a:solidFill>
              </a:rPr>
              <a:t>частично или полностью учебник, </a:t>
            </a:r>
            <a:r>
              <a:rPr lang="ru-RU" sz="1050" i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официально утвержденное в качестве данного вида издания.</a:t>
            </a:r>
          </a:p>
        </p:txBody>
      </p:sp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4886672" y="597095"/>
            <a:ext cx="3868573" cy="600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4290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Статья 18. Печатные и электронные образовательные и информационные ресурсы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1. В организациях, осуществляющих образовательную деятельность, в целях обеспечения реализации образовательных программ формируются библиотеки, в том числе цифровые (электронные) библиотеки, обеспечивающие доступ к профессиональным базам данных, информационным справочным и поисковым системам, а также иным информационным ресурсам. </a:t>
            </a:r>
            <a:r>
              <a:rPr kumimoji="0" lang="ru-RU" sz="8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Библиотечный фонд должен быть укомплектован печатными и (или) электронными учебными изданиями (включая учебники и учебные пособия)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, методическими и периодическими изданиями по всем входящим в реализуемые основные образовательные программы учебным предметам, курсам, дисциплинам (модулям).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2. Нормы обеспеченности образовательной деятельности учебными изданиями в расчете на одного обучающегося по основной образовательной программе устанавливаются соответствующими федеральными государственными образовательными 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  <a:hlinkClick r:id="rId7"/>
              </a:rPr>
              <a:t>стандартами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.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Calibri" pitchFamily="34" charset="0"/>
                <a:cs typeface="Arial" pitchFamily="34" charset="0"/>
              </a:rPr>
              <a:t>…………………………………………………………………………………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4. Организации, осуществляющие образовательную деятельность по имеющим государственную аккредитацию образовательным программам начального общего, основного общего, среднего общего образования, для использования при реализации указанных образовательных программ </a:t>
            </a:r>
            <a:r>
              <a:rPr kumimoji="0" lang="ru-RU" sz="8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выбирают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: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1) </a:t>
            </a:r>
            <a:r>
              <a:rPr kumimoji="0" lang="ru-RU" sz="8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учебники из числа входящих в федеральный перечень учебников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, рекомендуемых к использованию при реализации имеющих государственную аккредитацию образовательных программ начального общего, основного общего, среднего общего образования;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2) </a:t>
            </a:r>
            <a:r>
              <a:rPr kumimoji="0" lang="ru-RU" sz="8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учебные пособия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, выпущенные организациями, входящими в перечень организаций, осуществляющих выпуск учебных пособий, которые допускаются к использованию при реализации имеющих государственную аккредитацию образовательных программ начального общего, основного общего, среднего общего образования.</a:t>
            </a: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800" dirty="0" smtClean="0">
                <a:latin typeface="Arial" pitchFamily="34" charset="0"/>
                <a:cs typeface="Arial" pitchFamily="34" charset="0"/>
              </a:rPr>
              <a:t>………………….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90471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285285796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p:oleObj spid="_x0000_s422914" name="think-cell Slide" r:id="rId5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1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74328" y="1935564"/>
            <a:ext cx="4305179" cy="3077612"/>
          </a:xfrm>
          <a:prstGeom prst="rect">
            <a:avLst/>
          </a:prstGeom>
          <a:solidFill>
            <a:schemeClr val="bg1"/>
          </a:solidFill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5" name="Text Placeholder 1"/>
          <p:cNvSpPr txBox="1">
            <a:spLocks/>
          </p:cNvSpPr>
          <p:nvPr/>
        </p:nvSpPr>
        <p:spPr>
          <a:xfrm>
            <a:off x="417040" y="2099948"/>
            <a:ext cx="4019738" cy="2018220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>
                <a:solidFill>
                  <a:schemeClr val="tx1"/>
                </a:solidFill>
                <a:latin typeface="+mn-lt"/>
              </a:rPr>
              <a:t>Статья </a:t>
            </a:r>
            <a:r>
              <a:rPr lang="ru-RU" sz="1600" b="1" dirty="0" smtClean="0">
                <a:solidFill>
                  <a:schemeClr val="tx1"/>
                </a:solidFill>
                <a:latin typeface="+mn-lt"/>
              </a:rPr>
              <a:t>35, </a:t>
            </a:r>
            <a:r>
              <a:rPr lang="ru-RU" sz="1600" b="1" dirty="0">
                <a:latin typeface="+mn-lt"/>
              </a:rPr>
              <a:t>пункт </a:t>
            </a:r>
            <a:r>
              <a:rPr lang="ru-RU" sz="1600" b="1" dirty="0" smtClean="0">
                <a:latin typeface="+mn-lt"/>
              </a:rPr>
              <a:t>2</a:t>
            </a:r>
            <a:r>
              <a:rPr lang="ru-RU" sz="1600" b="1" dirty="0" smtClean="0">
                <a:solidFill>
                  <a:schemeClr val="tx1"/>
                </a:solidFill>
                <a:latin typeface="+mn-lt"/>
              </a:rPr>
              <a:t> Федерального Закона </a:t>
            </a:r>
            <a:r>
              <a:rPr lang="ru-RU" sz="1600" b="1" dirty="0">
                <a:solidFill>
                  <a:schemeClr val="tx1"/>
                </a:solidFill>
                <a:latin typeface="+mn-lt"/>
              </a:rPr>
              <a:t>«Об образовании в Российской Федерации» №</a:t>
            </a:r>
            <a:r>
              <a:rPr lang="en-US" sz="1600" b="1" dirty="0">
                <a:solidFill>
                  <a:schemeClr val="tx1"/>
                </a:solidFill>
                <a:latin typeface="+mn-lt"/>
              </a:rPr>
              <a:t>273-</a:t>
            </a:r>
            <a:r>
              <a:rPr lang="ru-RU" sz="1600" b="1" dirty="0">
                <a:solidFill>
                  <a:schemeClr val="tx1"/>
                </a:solidFill>
                <a:latin typeface="+mn-lt"/>
              </a:rPr>
              <a:t>ФЗ:</a:t>
            </a:r>
          </a:p>
          <a:p>
            <a:r>
              <a:rPr lang="ru-RU" sz="1600" b="1" i="1" dirty="0" smtClean="0">
                <a:solidFill>
                  <a:srgbClr val="2D3494"/>
                </a:solidFill>
                <a:latin typeface="+mn-lt"/>
              </a:rPr>
              <a:t>Обеспечение </a:t>
            </a:r>
            <a:r>
              <a:rPr lang="ru-RU" sz="1600" i="1" dirty="0">
                <a:latin typeface="+mn-lt"/>
              </a:rPr>
              <a:t>учебниками</a:t>
            </a:r>
            <a:r>
              <a:rPr lang="ru-RU" sz="1600" b="1" i="1" dirty="0">
                <a:solidFill>
                  <a:srgbClr val="2D3494"/>
                </a:solidFill>
                <a:latin typeface="+mn-lt"/>
              </a:rPr>
              <a:t> </a:t>
            </a:r>
            <a:r>
              <a:rPr lang="ru-RU" sz="1600" i="1" dirty="0">
                <a:latin typeface="+mn-lt"/>
              </a:rPr>
              <a:t>и</a:t>
            </a:r>
            <a:r>
              <a:rPr lang="ru-RU" sz="1600" b="1" i="1" dirty="0">
                <a:solidFill>
                  <a:srgbClr val="2D3494"/>
                </a:solidFill>
                <a:latin typeface="+mn-lt"/>
              </a:rPr>
              <a:t> учебными пособиями</a:t>
            </a:r>
            <a:r>
              <a:rPr lang="ru-RU" sz="1600" i="1" dirty="0">
                <a:solidFill>
                  <a:srgbClr val="2D3494"/>
                </a:solidFill>
                <a:latin typeface="+mn-lt"/>
              </a:rPr>
              <a:t>… </a:t>
            </a:r>
            <a:r>
              <a:rPr lang="ru-RU" sz="1600" b="1" i="1" dirty="0">
                <a:solidFill>
                  <a:srgbClr val="2D3494"/>
                </a:solidFill>
                <a:latin typeface="+mn-lt"/>
              </a:rPr>
              <a:t>осуществляется за счет бюджетных ассигнований</a:t>
            </a:r>
            <a:r>
              <a:rPr lang="ru-RU" sz="1600" i="1" dirty="0">
                <a:latin typeface="+mn-lt"/>
              </a:rPr>
              <a:t> федерального бюджета, бюджетов субъектов Российской Федерации и местных </a:t>
            </a:r>
            <a:r>
              <a:rPr lang="ru-RU" sz="1600" i="1" dirty="0" smtClean="0">
                <a:latin typeface="+mn-lt"/>
              </a:rPr>
              <a:t>бюджетов.</a:t>
            </a:r>
            <a:endParaRPr lang="ru-RU" sz="1600" i="1" dirty="0">
              <a:latin typeface="+mn-lt"/>
            </a:endParaRPr>
          </a:p>
        </p:txBody>
      </p:sp>
      <p:sp>
        <p:nvSpPr>
          <p:cNvPr id="18" name="Freeform 48"/>
          <p:cNvSpPr>
            <a:spLocks/>
          </p:cNvSpPr>
          <p:nvPr/>
        </p:nvSpPr>
        <p:spPr bwMode="auto">
          <a:xfrm rot="5751609" flipH="1">
            <a:off x="3735668" y="552352"/>
            <a:ext cx="684355" cy="1690532"/>
          </a:xfrm>
          <a:custGeom>
            <a:avLst/>
            <a:gdLst/>
            <a:ahLst/>
            <a:cxnLst>
              <a:cxn ang="0">
                <a:pos x="74" y="5108"/>
              </a:cxn>
              <a:cxn ang="0">
                <a:pos x="289" y="4928"/>
              </a:cxn>
              <a:cxn ang="0">
                <a:pos x="490" y="4733"/>
              </a:cxn>
              <a:cxn ang="0">
                <a:pos x="615" y="4593"/>
              </a:cxn>
              <a:cxn ang="0">
                <a:pos x="791" y="4373"/>
              </a:cxn>
              <a:cxn ang="0">
                <a:pos x="949" y="4137"/>
              </a:cxn>
              <a:cxn ang="0">
                <a:pos x="1045" y="3975"/>
              </a:cxn>
              <a:cxn ang="0">
                <a:pos x="1173" y="3720"/>
              </a:cxn>
              <a:cxn ang="0">
                <a:pos x="1282" y="3455"/>
              </a:cxn>
              <a:cxn ang="0">
                <a:pos x="1344" y="3274"/>
              </a:cxn>
              <a:cxn ang="0">
                <a:pos x="1419" y="2997"/>
              </a:cxn>
              <a:cxn ang="0">
                <a:pos x="1473" y="2713"/>
              </a:cxn>
              <a:cxn ang="0">
                <a:pos x="1496" y="2522"/>
              </a:cxn>
              <a:cxn ang="0">
                <a:pos x="1514" y="2232"/>
              </a:cxn>
              <a:cxn ang="0">
                <a:pos x="1511" y="1941"/>
              </a:cxn>
              <a:cxn ang="0">
                <a:pos x="1496" y="1748"/>
              </a:cxn>
              <a:cxn ang="0">
                <a:pos x="1454" y="1457"/>
              </a:cxn>
              <a:cxn ang="0">
                <a:pos x="1391" y="1169"/>
              </a:cxn>
              <a:cxn ang="0">
                <a:pos x="1337" y="981"/>
              </a:cxn>
              <a:cxn ang="0">
                <a:pos x="1237" y="703"/>
              </a:cxn>
              <a:cxn ang="0">
                <a:pos x="1159" y="521"/>
              </a:cxn>
              <a:cxn ang="0">
                <a:pos x="1116" y="432"/>
              </a:cxn>
              <a:cxn ang="0">
                <a:pos x="1071" y="344"/>
              </a:cxn>
              <a:cxn ang="0">
                <a:pos x="1017" y="244"/>
              </a:cxn>
              <a:cxn ang="0">
                <a:pos x="1087" y="124"/>
              </a:cxn>
              <a:cxn ang="0">
                <a:pos x="853" y="56"/>
              </a:cxn>
              <a:cxn ang="0">
                <a:pos x="613" y="10"/>
              </a:cxn>
              <a:cxn ang="0">
                <a:pos x="523" y="81"/>
              </a:cxn>
              <a:cxn ang="0">
                <a:pos x="491" y="314"/>
              </a:cxn>
              <a:cxn ang="0">
                <a:pos x="453" y="534"/>
              </a:cxn>
              <a:cxn ang="0">
                <a:pos x="587" y="512"/>
              </a:cxn>
              <a:cxn ang="0">
                <a:pos x="653" y="612"/>
              </a:cxn>
              <a:cxn ang="0">
                <a:pos x="688" y="667"/>
              </a:cxn>
              <a:cxn ang="0">
                <a:pos x="733" y="741"/>
              </a:cxn>
              <a:cxn ang="0">
                <a:pos x="817" y="894"/>
              </a:cxn>
              <a:cxn ang="0">
                <a:pos x="928" y="1130"/>
              </a:cxn>
              <a:cxn ang="0">
                <a:pos x="993" y="1293"/>
              </a:cxn>
              <a:cxn ang="0">
                <a:pos x="1074" y="1543"/>
              </a:cxn>
              <a:cxn ang="0">
                <a:pos x="1136" y="1801"/>
              </a:cxn>
              <a:cxn ang="0">
                <a:pos x="1166" y="1975"/>
              </a:cxn>
              <a:cxn ang="0">
                <a:pos x="1195" y="2239"/>
              </a:cxn>
              <a:cxn ang="0">
                <a:pos x="1204" y="2507"/>
              </a:cxn>
              <a:cxn ang="0">
                <a:pos x="1198" y="2685"/>
              </a:cxn>
              <a:cxn ang="0">
                <a:pos x="1174" y="2952"/>
              </a:cxn>
              <a:cxn ang="0">
                <a:pos x="1129" y="3219"/>
              </a:cxn>
              <a:cxn ang="0">
                <a:pos x="1087" y="3394"/>
              </a:cxn>
              <a:cxn ang="0">
                <a:pos x="1008" y="3654"/>
              </a:cxn>
              <a:cxn ang="0">
                <a:pos x="910" y="3908"/>
              </a:cxn>
              <a:cxn ang="0">
                <a:pos x="832" y="4073"/>
              </a:cxn>
              <a:cxn ang="0">
                <a:pos x="702" y="4314"/>
              </a:cxn>
              <a:cxn ang="0">
                <a:pos x="552" y="4545"/>
              </a:cxn>
              <a:cxn ang="0">
                <a:pos x="442" y="4693"/>
              </a:cxn>
              <a:cxn ang="0">
                <a:pos x="263" y="4904"/>
              </a:cxn>
              <a:cxn ang="0">
                <a:pos x="68" y="5101"/>
              </a:cxn>
            </a:cxnLst>
            <a:rect l="0" t="0" r="r" b="b"/>
            <a:pathLst>
              <a:path w="1515" h="5165">
                <a:moveTo>
                  <a:pt x="0" y="5165"/>
                </a:moveTo>
                <a:lnTo>
                  <a:pt x="0" y="5165"/>
                </a:lnTo>
                <a:lnTo>
                  <a:pt x="74" y="5108"/>
                </a:lnTo>
                <a:lnTo>
                  <a:pt x="147" y="5050"/>
                </a:lnTo>
                <a:lnTo>
                  <a:pt x="218" y="4990"/>
                </a:lnTo>
                <a:lnTo>
                  <a:pt x="289" y="4928"/>
                </a:lnTo>
                <a:lnTo>
                  <a:pt x="357" y="4864"/>
                </a:lnTo>
                <a:lnTo>
                  <a:pt x="424" y="4800"/>
                </a:lnTo>
                <a:lnTo>
                  <a:pt x="490" y="4733"/>
                </a:lnTo>
                <a:lnTo>
                  <a:pt x="553" y="4664"/>
                </a:lnTo>
                <a:lnTo>
                  <a:pt x="553" y="4664"/>
                </a:lnTo>
                <a:lnTo>
                  <a:pt x="615" y="4593"/>
                </a:lnTo>
                <a:lnTo>
                  <a:pt x="675" y="4522"/>
                </a:lnTo>
                <a:lnTo>
                  <a:pt x="734" y="4448"/>
                </a:lnTo>
                <a:lnTo>
                  <a:pt x="791" y="4373"/>
                </a:lnTo>
                <a:lnTo>
                  <a:pt x="845" y="4296"/>
                </a:lnTo>
                <a:lnTo>
                  <a:pt x="898" y="4217"/>
                </a:lnTo>
                <a:lnTo>
                  <a:pt x="949" y="4137"/>
                </a:lnTo>
                <a:lnTo>
                  <a:pt x="998" y="4057"/>
                </a:lnTo>
                <a:lnTo>
                  <a:pt x="998" y="4057"/>
                </a:lnTo>
                <a:lnTo>
                  <a:pt x="1045" y="3975"/>
                </a:lnTo>
                <a:lnTo>
                  <a:pt x="1090" y="3890"/>
                </a:lnTo>
                <a:lnTo>
                  <a:pt x="1132" y="3806"/>
                </a:lnTo>
                <a:lnTo>
                  <a:pt x="1173" y="3720"/>
                </a:lnTo>
                <a:lnTo>
                  <a:pt x="1212" y="3633"/>
                </a:lnTo>
                <a:lnTo>
                  <a:pt x="1248" y="3544"/>
                </a:lnTo>
                <a:lnTo>
                  <a:pt x="1282" y="3455"/>
                </a:lnTo>
                <a:lnTo>
                  <a:pt x="1314" y="3365"/>
                </a:lnTo>
                <a:lnTo>
                  <a:pt x="1314" y="3365"/>
                </a:lnTo>
                <a:lnTo>
                  <a:pt x="1344" y="3274"/>
                </a:lnTo>
                <a:lnTo>
                  <a:pt x="1370" y="3183"/>
                </a:lnTo>
                <a:lnTo>
                  <a:pt x="1395" y="3091"/>
                </a:lnTo>
                <a:lnTo>
                  <a:pt x="1419" y="2997"/>
                </a:lnTo>
                <a:lnTo>
                  <a:pt x="1438" y="2903"/>
                </a:lnTo>
                <a:lnTo>
                  <a:pt x="1457" y="2808"/>
                </a:lnTo>
                <a:lnTo>
                  <a:pt x="1473" y="2713"/>
                </a:lnTo>
                <a:lnTo>
                  <a:pt x="1485" y="2618"/>
                </a:lnTo>
                <a:lnTo>
                  <a:pt x="1485" y="2618"/>
                </a:lnTo>
                <a:lnTo>
                  <a:pt x="1496" y="2522"/>
                </a:lnTo>
                <a:lnTo>
                  <a:pt x="1505" y="2426"/>
                </a:lnTo>
                <a:lnTo>
                  <a:pt x="1511" y="2329"/>
                </a:lnTo>
                <a:lnTo>
                  <a:pt x="1514" y="2232"/>
                </a:lnTo>
                <a:lnTo>
                  <a:pt x="1515" y="2135"/>
                </a:lnTo>
                <a:lnTo>
                  <a:pt x="1514" y="2038"/>
                </a:lnTo>
                <a:lnTo>
                  <a:pt x="1511" y="1941"/>
                </a:lnTo>
                <a:lnTo>
                  <a:pt x="1504" y="1844"/>
                </a:lnTo>
                <a:lnTo>
                  <a:pt x="1504" y="1844"/>
                </a:lnTo>
                <a:lnTo>
                  <a:pt x="1496" y="1748"/>
                </a:lnTo>
                <a:lnTo>
                  <a:pt x="1484" y="1651"/>
                </a:lnTo>
                <a:lnTo>
                  <a:pt x="1470" y="1554"/>
                </a:lnTo>
                <a:lnTo>
                  <a:pt x="1454" y="1457"/>
                </a:lnTo>
                <a:lnTo>
                  <a:pt x="1436" y="1361"/>
                </a:lnTo>
                <a:lnTo>
                  <a:pt x="1415" y="1265"/>
                </a:lnTo>
                <a:lnTo>
                  <a:pt x="1391" y="1169"/>
                </a:lnTo>
                <a:lnTo>
                  <a:pt x="1365" y="1075"/>
                </a:lnTo>
                <a:lnTo>
                  <a:pt x="1365" y="1075"/>
                </a:lnTo>
                <a:lnTo>
                  <a:pt x="1337" y="981"/>
                </a:lnTo>
                <a:lnTo>
                  <a:pt x="1307" y="888"/>
                </a:lnTo>
                <a:lnTo>
                  <a:pt x="1273" y="794"/>
                </a:lnTo>
                <a:lnTo>
                  <a:pt x="1237" y="703"/>
                </a:lnTo>
                <a:lnTo>
                  <a:pt x="1237" y="703"/>
                </a:lnTo>
                <a:lnTo>
                  <a:pt x="1199" y="611"/>
                </a:lnTo>
                <a:lnTo>
                  <a:pt x="1159" y="521"/>
                </a:lnTo>
                <a:lnTo>
                  <a:pt x="1159" y="521"/>
                </a:lnTo>
                <a:lnTo>
                  <a:pt x="1116" y="432"/>
                </a:lnTo>
                <a:lnTo>
                  <a:pt x="1116" y="432"/>
                </a:lnTo>
                <a:lnTo>
                  <a:pt x="1094" y="387"/>
                </a:lnTo>
                <a:lnTo>
                  <a:pt x="1083" y="365"/>
                </a:lnTo>
                <a:lnTo>
                  <a:pt x="1071" y="344"/>
                </a:lnTo>
                <a:lnTo>
                  <a:pt x="1071" y="344"/>
                </a:lnTo>
                <a:lnTo>
                  <a:pt x="1045" y="293"/>
                </a:lnTo>
                <a:lnTo>
                  <a:pt x="1017" y="244"/>
                </a:lnTo>
                <a:lnTo>
                  <a:pt x="1164" y="152"/>
                </a:lnTo>
                <a:lnTo>
                  <a:pt x="1164" y="152"/>
                </a:lnTo>
                <a:lnTo>
                  <a:pt x="1087" y="124"/>
                </a:lnTo>
                <a:lnTo>
                  <a:pt x="1010" y="98"/>
                </a:lnTo>
                <a:lnTo>
                  <a:pt x="933" y="75"/>
                </a:lnTo>
                <a:lnTo>
                  <a:pt x="853" y="56"/>
                </a:lnTo>
                <a:lnTo>
                  <a:pt x="773" y="37"/>
                </a:lnTo>
                <a:lnTo>
                  <a:pt x="694" y="22"/>
                </a:lnTo>
                <a:lnTo>
                  <a:pt x="613" y="10"/>
                </a:lnTo>
                <a:lnTo>
                  <a:pt x="531" y="0"/>
                </a:lnTo>
                <a:lnTo>
                  <a:pt x="531" y="0"/>
                </a:lnTo>
                <a:lnTo>
                  <a:pt x="523" y="81"/>
                </a:lnTo>
                <a:lnTo>
                  <a:pt x="513" y="161"/>
                </a:lnTo>
                <a:lnTo>
                  <a:pt x="502" y="238"/>
                </a:lnTo>
                <a:lnTo>
                  <a:pt x="491" y="314"/>
                </a:lnTo>
                <a:lnTo>
                  <a:pt x="479" y="389"/>
                </a:lnTo>
                <a:lnTo>
                  <a:pt x="467" y="462"/>
                </a:lnTo>
                <a:lnTo>
                  <a:pt x="453" y="534"/>
                </a:lnTo>
                <a:lnTo>
                  <a:pt x="439" y="604"/>
                </a:lnTo>
                <a:lnTo>
                  <a:pt x="587" y="512"/>
                </a:lnTo>
                <a:lnTo>
                  <a:pt x="587" y="512"/>
                </a:lnTo>
                <a:lnTo>
                  <a:pt x="614" y="553"/>
                </a:lnTo>
                <a:lnTo>
                  <a:pt x="642" y="596"/>
                </a:lnTo>
                <a:lnTo>
                  <a:pt x="653" y="612"/>
                </a:lnTo>
                <a:lnTo>
                  <a:pt x="665" y="630"/>
                </a:lnTo>
                <a:lnTo>
                  <a:pt x="665" y="630"/>
                </a:lnTo>
                <a:lnTo>
                  <a:pt x="688" y="667"/>
                </a:lnTo>
                <a:lnTo>
                  <a:pt x="688" y="667"/>
                </a:lnTo>
                <a:lnTo>
                  <a:pt x="733" y="741"/>
                </a:lnTo>
                <a:lnTo>
                  <a:pt x="733" y="741"/>
                </a:lnTo>
                <a:lnTo>
                  <a:pt x="776" y="817"/>
                </a:lnTo>
                <a:lnTo>
                  <a:pt x="817" y="894"/>
                </a:lnTo>
                <a:lnTo>
                  <a:pt x="817" y="894"/>
                </a:lnTo>
                <a:lnTo>
                  <a:pt x="857" y="972"/>
                </a:lnTo>
                <a:lnTo>
                  <a:pt x="893" y="1050"/>
                </a:lnTo>
                <a:lnTo>
                  <a:pt x="928" y="1130"/>
                </a:lnTo>
                <a:lnTo>
                  <a:pt x="962" y="1211"/>
                </a:lnTo>
                <a:lnTo>
                  <a:pt x="962" y="1211"/>
                </a:lnTo>
                <a:lnTo>
                  <a:pt x="993" y="1293"/>
                </a:lnTo>
                <a:lnTo>
                  <a:pt x="1022" y="1376"/>
                </a:lnTo>
                <a:lnTo>
                  <a:pt x="1049" y="1459"/>
                </a:lnTo>
                <a:lnTo>
                  <a:pt x="1074" y="1543"/>
                </a:lnTo>
                <a:lnTo>
                  <a:pt x="1097" y="1629"/>
                </a:lnTo>
                <a:lnTo>
                  <a:pt x="1117" y="1714"/>
                </a:lnTo>
                <a:lnTo>
                  <a:pt x="1136" y="1801"/>
                </a:lnTo>
                <a:lnTo>
                  <a:pt x="1152" y="1887"/>
                </a:lnTo>
                <a:lnTo>
                  <a:pt x="1152" y="1887"/>
                </a:lnTo>
                <a:lnTo>
                  <a:pt x="1166" y="1975"/>
                </a:lnTo>
                <a:lnTo>
                  <a:pt x="1177" y="2063"/>
                </a:lnTo>
                <a:lnTo>
                  <a:pt x="1188" y="2151"/>
                </a:lnTo>
                <a:lnTo>
                  <a:pt x="1195" y="2239"/>
                </a:lnTo>
                <a:lnTo>
                  <a:pt x="1200" y="2328"/>
                </a:lnTo>
                <a:lnTo>
                  <a:pt x="1203" y="2417"/>
                </a:lnTo>
                <a:lnTo>
                  <a:pt x="1204" y="2507"/>
                </a:lnTo>
                <a:lnTo>
                  <a:pt x="1203" y="2596"/>
                </a:lnTo>
                <a:lnTo>
                  <a:pt x="1203" y="2596"/>
                </a:lnTo>
                <a:lnTo>
                  <a:pt x="1198" y="2685"/>
                </a:lnTo>
                <a:lnTo>
                  <a:pt x="1192" y="2775"/>
                </a:lnTo>
                <a:lnTo>
                  <a:pt x="1184" y="2863"/>
                </a:lnTo>
                <a:lnTo>
                  <a:pt x="1174" y="2952"/>
                </a:lnTo>
                <a:lnTo>
                  <a:pt x="1161" y="3041"/>
                </a:lnTo>
                <a:lnTo>
                  <a:pt x="1146" y="3130"/>
                </a:lnTo>
                <a:lnTo>
                  <a:pt x="1129" y="3219"/>
                </a:lnTo>
                <a:lnTo>
                  <a:pt x="1109" y="3307"/>
                </a:lnTo>
                <a:lnTo>
                  <a:pt x="1109" y="3307"/>
                </a:lnTo>
                <a:lnTo>
                  <a:pt x="1087" y="3394"/>
                </a:lnTo>
                <a:lnTo>
                  <a:pt x="1063" y="3481"/>
                </a:lnTo>
                <a:lnTo>
                  <a:pt x="1037" y="3567"/>
                </a:lnTo>
                <a:lnTo>
                  <a:pt x="1008" y="3654"/>
                </a:lnTo>
                <a:lnTo>
                  <a:pt x="978" y="3739"/>
                </a:lnTo>
                <a:lnTo>
                  <a:pt x="944" y="3824"/>
                </a:lnTo>
                <a:lnTo>
                  <a:pt x="910" y="3908"/>
                </a:lnTo>
                <a:lnTo>
                  <a:pt x="873" y="3991"/>
                </a:lnTo>
                <a:lnTo>
                  <a:pt x="873" y="3991"/>
                </a:lnTo>
                <a:lnTo>
                  <a:pt x="832" y="4073"/>
                </a:lnTo>
                <a:lnTo>
                  <a:pt x="791" y="4154"/>
                </a:lnTo>
                <a:lnTo>
                  <a:pt x="748" y="4234"/>
                </a:lnTo>
                <a:lnTo>
                  <a:pt x="702" y="4314"/>
                </a:lnTo>
                <a:lnTo>
                  <a:pt x="653" y="4391"/>
                </a:lnTo>
                <a:lnTo>
                  <a:pt x="604" y="4469"/>
                </a:lnTo>
                <a:lnTo>
                  <a:pt x="552" y="4545"/>
                </a:lnTo>
                <a:lnTo>
                  <a:pt x="498" y="4619"/>
                </a:lnTo>
                <a:lnTo>
                  <a:pt x="498" y="4619"/>
                </a:lnTo>
                <a:lnTo>
                  <a:pt x="442" y="4693"/>
                </a:lnTo>
                <a:lnTo>
                  <a:pt x="385" y="4764"/>
                </a:lnTo>
                <a:lnTo>
                  <a:pt x="325" y="4834"/>
                </a:lnTo>
                <a:lnTo>
                  <a:pt x="263" y="4904"/>
                </a:lnTo>
                <a:lnTo>
                  <a:pt x="200" y="4971"/>
                </a:lnTo>
                <a:lnTo>
                  <a:pt x="135" y="5036"/>
                </a:lnTo>
                <a:lnTo>
                  <a:pt x="68" y="5101"/>
                </a:lnTo>
                <a:lnTo>
                  <a:pt x="0" y="5165"/>
                </a:lnTo>
                <a:lnTo>
                  <a:pt x="0" y="5165"/>
                </a:lnTo>
                <a:close/>
              </a:path>
            </a:pathLst>
          </a:custGeom>
          <a:solidFill>
            <a:srgbClr val="2F3696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/>
          </a:p>
        </p:txBody>
      </p:sp>
      <p:sp>
        <p:nvSpPr>
          <p:cNvPr id="14" name="Овал 12"/>
          <p:cNvSpPr/>
          <p:nvPr/>
        </p:nvSpPr>
        <p:spPr>
          <a:xfrm>
            <a:off x="170668" y="144392"/>
            <a:ext cx="449479" cy="59930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2800" dirty="0" err="1" smtClean="0">
              <a:solidFill>
                <a:schemeClr val="bg1"/>
              </a:solidFill>
            </a:endParaRPr>
          </a:p>
        </p:txBody>
      </p:sp>
      <p:pic>
        <p:nvPicPr>
          <p:cNvPr id="20" name="Рисунок 16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40039" y="236414"/>
            <a:ext cx="333980" cy="422130"/>
          </a:xfrm>
          <a:prstGeom prst="rect">
            <a:avLst/>
          </a:prstGeom>
        </p:spPr>
      </p:pic>
      <p:sp>
        <p:nvSpPr>
          <p:cNvPr id="26" name="Title 2"/>
          <p:cNvSpPr txBox="1">
            <a:spLocks/>
          </p:cNvSpPr>
          <p:nvPr/>
        </p:nvSpPr>
        <p:spPr>
          <a:xfrm>
            <a:off x="689521" y="31763"/>
            <a:ext cx="7631192" cy="8245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dirty="0" smtClean="0">
                <a:latin typeface="+mj-lt"/>
              </a:rPr>
              <a:t>НО МАЛО КТО ЗНАЕТ, ЧТО ЗАКОН ТАКЖЕ РАЗРЕШАЕТ </a:t>
            </a:r>
            <a:r>
              <a:rPr lang="ru-RU" dirty="0">
                <a:latin typeface="+mj-lt"/>
              </a:rPr>
              <a:t>ЗАКУПАТЬ УЧЕБНЫЕ ПОСОБИЯ </a:t>
            </a:r>
            <a:r>
              <a:rPr lang="ru-RU" dirty="0" smtClean="0">
                <a:solidFill>
                  <a:srgbClr val="EB2049"/>
                </a:solidFill>
                <a:latin typeface="+mj-lt"/>
              </a:rPr>
              <a:t>ЗА </a:t>
            </a:r>
            <a:r>
              <a:rPr lang="ru-RU" dirty="0">
                <a:solidFill>
                  <a:srgbClr val="EB2049"/>
                </a:solidFill>
                <a:latin typeface="+mj-lt"/>
              </a:rPr>
              <a:t>БЮДЖЕТНЫЕ </a:t>
            </a:r>
            <a:r>
              <a:rPr lang="ru-RU" dirty="0" smtClean="0">
                <a:solidFill>
                  <a:srgbClr val="EB2049"/>
                </a:solidFill>
                <a:latin typeface="+mj-lt"/>
              </a:rPr>
              <a:t>СРЕДСТВА</a:t>
            </a:r>
            <a:endParaRPr lang="ru-RU" dirty="0">
              <a:solidFill>
                <a:srgbClr val="EB2049"/>
              </a:solidFill>
              <a:latin typeface="+mj-lt"/>
            </a:endParaRPr>
          </a:p>
        </p:txBody>
      </p: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4794070" y="1302463"/>
            <a:ext cx="4049486" cy="4616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4290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Статья 35. Пользование учебниками, учебными пособиями, средствами обучения и воспитания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1. Обучающимся, осваивающим основные образовательные программы </a:t>
            </a:r>
            <a:r>
              <a:rPr kumimoji="0" lang="ru-RU" sz="8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за счет бюджетных ассигнований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федерального бюджета, бюджетов субъектов Российской Федерации и местных бюджетов в пределах федеральных государственных образовательных 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  <a:hlinkClick r:id="rId7"/>
              </a:rPr>
              <a:t>стандартов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, образовательных стандартов, организациями, осуществляющими образовательную деятельность, 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  <a:hlinkClick r:id="rId8"/>
              </a:rPr>
              <a:t>бесплатно предоставляются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в пользование на время получения образования </a:t>
            </a:r>
            <a:r>
              <a:rPr kumimoji="0" lang="ru-RU" sz="8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учебники и учебные пособия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, а также учебно-методические материалы, 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  <a:hlinkClick r:id="rId9"/>
              </a:rPr>
              <a:t>средства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обучения и воспитания.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2. Обеспечение учебниками и учебными пособиями, а также учебно-методическими материалами, средствами обучения и воспитания организаций, осуществляющих образовательную деятельность по основным образовательным программам, в пределах федеральных государственных образовательных стандартов, образовательных стандартов осуществляется за счет бюджетных ассигнований федерального бюджета, бюджетов субъектов Российской Федерации и местных бюджетов.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3. Пользование учебниками и учебными пособиями обучающимися, осваивающими учебные предметы, курсы, дисциплины (модули) за пределами федеральных государственных образовательных стандартов, образовательных стандартов и (или) получающими платные образовательные услуги, осуществляется в порядке, установленном организацией, осуществляющей образовательную деятельность.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74320" y="5210123"/>
            <a:ext cx="8569234" cy="638732"/>
          </a:xfrm>
          <a:prstGeom prst="rect">
            <a:avLst/>
          </a:prstGeom>
          <a:solidFill>
            <a:schemeClr val="bg1"/>
          </a:solidFill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400" b="1" dirty="0" smtClean="0">
                <a:solidFill>
                  <a:srgbClr val="EB2049"/>
                </a:solidFill>
              </a:rPr>
              <a:t>В соответствии с Приказом </a:t>
            </a:r>
            <a:r>
              <a:rPr lang="ru-RU" sz="1400" b="1" dirty="0" err="1">
                <a:solidFill>
                  <a:srgbClr val="EB2049"/>
                </a:solidFill>
              </a:rPr>
              <a:t>Минобрнауки</a:t>
            </a:r>
            <a:r>
              <a:rPr lang="ru-RU" sz="1400" b="1" dirty="0">
                <a:solidFill>
                  <a:srgbClr val="EB2049"/>
                </a:solidFill>
              </a:rPr>
              <a:t> России от 09.06.2016 N </a:t>
            </a:r>
            <a:r>
              <a:rPr lang="ru-RU" sz="1400" b="1" dirty="0" smtClean="0">
                <a:solidFill>
                  <a:srgbClr val="EB2049"/>
                </a:solidFill>
              </a:rPr>
              <a:t>699 «Дрофа», «</a:t>
            </a:r>
            <a:r>
              <a:rPr lang="ru-RU" sz="1400" b="1" dirty="0" err="1" smtClean="0">
                <a:solidFill>
                  <a:srgbClr val="EB2049"/>
                </a:solidFill>
              </a:rPr>
              <a:t>Вентана-граф</a:t>
            </a:r>
            <a:r>
              <a:rPr lang="ru-RU" sz="1400" b="1" dirty="0" smtClean="0">
                <a:solidFill>
                  <a:srgbClr val="EB2049"/>
                </a:solidFill>
              </a:rPr>
              <a:t>» и «</a:t>
            </a:r>
            <a:r>
              <a:rPr lang="ru-RU" sz="1400" b="1" dirty="0" err="1" smtClean="0">
                <a:solidFill>
                  <a:srgbClr val="EB2049"/>
                </a:solidFill>
              </a:rPr>
              <a:t>Астрель</a:t>
            </a:r>
            <a:r>
              <a:rPr lang="ru-RU" sz="1400" b="1" dirty="0" smtClean="0">
                <a:solidFill>
                  <a:srgbClr val="EB2049"/>
                </a:solidFill>
              </a:rPr>
              <a:t>» входят в перечень организаций, выпускающих учебные пособия, которые можно использовать в школе и закупать за бюджетные средства.   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95835" y="5899725"/>
            <a:ext cx="4572000" cy="57708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50" b="1" dirty="0" smtClean="0"/>
              <a:t>Полный текст документа </a:t>
            </a:r>
            <a:r>
              <a:rPr lang="ru-RU" sz="1050" u="sng" dirty="0" smtClean="0">
                <a:hlinkClick r:id="rId10"/>
              </a:rPr>
              <a:t>// </a:t>
            </a:r>
            <a:r>
              <a:rPr lang="ru-RU" sz="1050" u="sng" dirty="0" smtClean="0">
                <a:hlinkClick r:id="rId11"/>
              </a:rPr>
              <a:t>http://www.consultant.ru</a:t>
            </a:r>
            <a:r>
              <a:rPr lang="ru-RU" sz="1050" u="sng" dirty="0" smtClean="0">
                <a:hlinkClick r:id="rId10"/>
              </a:rPr>
              <a:t>/; http://www.garant.ru/; </a:t>
            </a:r>
            <a:r>
              <a:rPr lang="ru-RU" sz="1050" u="sng" dirty="0" smtClean="0">
                <a:hlinkClick r:id="rId12"/>
              </a:rPr>
              <a:t>http://www.fpu.edu.ru/fpu</a:t>
            </a:r>
            <a:endParaRPr lang="ru-RU" sz="1050" u="sng" dirty="0" smtClean="0">
              <a:hlinkClick r:id="rId10"/>
            </a:endParaRPr>
          </a:p>
          <a:p>
            <a:r>
              <a:rPr lang="ru-RU" sz="1050" u="sng" dirty="0" smtClean="0"/>
              <a:t> </a:t>
            </a:r>
            <a:endParaRPr lang="ru-RU" sz="1050" dirty="0" smtClean="0"/>
          </a:p>
        </p:txBody>
      </p:sp>
    </p:spTree>
    <p:extLst>
      <p:ext uri="{BB962C8B-B14F-4D97-AF65-F5344CB8AC3E}">
        <p14:creationId xmlns:p14="http://schemas.microsoft.com/office/powerpoint/2010/main" xmlns="" val="878020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8954" y="224789"/>
            <a:ext cx="8095129" cy="648642"/>
          </a:xfrm>
        </p:spPr>
        <p:txBody>
          <a:bodyPr/>
          <a:lstStyle/>
          <a:p>
            <a:pPr algn="r">
              <a:lnSpc>
                <a:spcPct val="100000"/>
              </a:lnSpc>
            </a:pPr>
            <a:r>
              <a:rPr lang="ru-RU" sz="2400" dirty="0" smtClean="0">
                <a:latin typeface="+mj-lt"/>
              </a:rPr>
              <a:t>УМК по биологии из ФПУ  от 28.12.2018г Приказ № 345</a:t>
            </a:r>
            <a:endParaRPr lang="ru-RU" sz="2400" dirty="0">
              <a:solidFill>
                <a:srgbClr val="EB2049"/>
              </a:solidFill>
              <a:latin typeface="+mj-lt"/>
            </a:endParaRPr>
          </a:p>
        </p:txBody>
      </p:sp>
      <p:sp>
        <p:nvSpPr>
          <p:cNvPr id="79" name="Text Placeholder 3"/>
          <p:cNvSpPr txBox="1">
            <a:spLocks/>
          </p:cNvSpPr>
          <p:nvPr/>
        </p:nvSpPr>
        <p:spPr>
          <a:xfrm>
            <a:off x="990575" y="1720579"/>
            <a:ext cx="1905037" cy="398510"/>
          </a:xfrm>
          <a:prstGeom prst="rect">
            <a:avLst/>
          </a:prstGeom>
        </p:spPr>
        <p:txBody>
          <a:bodyPr vert="horz" lIns="54000" tIns="54000" rIns="27000" bIns="54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>
              <a:lnSpc>
                <a:spcPts val="1050"/>
              </a:lnSpc>
            </a:pPr>
            <a:r>
              <a:rPr lang="ru-RU" sz="1050" dirty="0">
                <a:latin typeface="+mn-lt"/>
              </a:rPr>
              <a:t>Линия УМК </a:t>
            </a:r>
            <a:r>
              <a:rPr lang="ru-RU" sz="1050" dirty="0" smtClean="0">
                <a:latin typeface="+mn-lt"/>
              </a:rPr>
              <a:t>Пономаревой И.Н. и </a:t>
            </a:r>
            <a:r>
              <a:rPr lang="ru-RU" sz="1050" dirty="0" err="1" smtClean="0">
                <a:latin typeface="+mn-lt"/>
              </a:rPr>
              <a:t>др</a:t>
            </a:r>
            <a:r>
              <a:rPr lang="ru-RU" sz="1050" dirty="0" smtClean="0">
                <a:latin typeface="+mn-lt"/>
              </a:rPr>
              <a:t> (линейный вариант)</a:t>
            </a:r>
            <a:endParaRPr lang="ru-RU" sz="1050" dirty="0">
              <a:latin typeface="+mn-lt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223111" y="2817775"/>
            <a:ext cx="117584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50" b="1" dirty="0">
                <a:solidFill>
                  <a:srgbClr val="2D3494"/>
                </a:solidFill>
                <a:cs typeface="Calibri" panose="020F0502020204030204" pitchFamily="34" charset="0"/>
              </a:rPr>
              <a:t>ОСНОВНАЯ </a:t>
            </a:r>
          </a:p>
          <a:p>
            <a:r>
              <a:rPr lang="ru-RU" sz="1050" b="1" dirty="0">
                <a:solidFill>
                  <a:srgbClr val="2D3494"/>
                </a:solidFill>
                <a:cs typeface="Calibri" panose="020F0502020204030204" pitchFamily="34" charset="0"/>
              </a:rPr>
              <a:t>ШКОЛА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223111" y="4509659"/>
            <a:ext cx="117584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50" b="1" dirty="0">
                <a:solidFill>
                  <a:srgbClr val="2D3494"/>
                </a:solidFill>
                <a:cs typeface="Calibri" panose="020F0502020204030204" pitchFamily="34" charset="0"/>
              </a:rPr>
              <a:t>СТАРШАЯ </a:t>
            </a:r>
          </a:p>
          <a:p>
            <a:r>
              <a:rPr lang="ru-RU" sz="1050" b="1" dirty="0">
                <a:solidFill>
                  <a:srgbClr val="2D3494"/>
                </a:solidFill>
                <a:cs typeface="Calibri" panose="020F0502020204030204" pitchFamily="34" charset="0"/>
              </a:rPr>
              <a:t>ШКОЛА</a:t>
            </a:r>
          </a:p>
        </p:txBody>
      </p:sp>
      <p:sp>
        <p:nvSpPr>
          <p:cNvPr id="82" name="Text Placeholder 3"/>
          <p:cNvSpPr txBox="1">
            <a:spLocks/>
          </p:cNvSpPr>
          <p:nvPr/>
        </p:nvSpPr>
        <p:spPr>
          <a:xfrm>
            <a:off x="2787402" y="1702650"/>
            <a:ext cx="1910104" cy="398510"/>
          </a:xfrm>
          <a:prstGeom prst="rect">
            <a:avLst/>
          </a:prstGeom>
        </p:spPr>
        <p:txBody>
          <a:bodyPr vert="horz" lIns="54000" tIns="54000" rIns="27000" bIns="54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>
              <a:lnSpc>
                <a:spcPts val="1050"/>
              </a:lnSpc>
            </a:pPr>
            <a:r>
              <a:rPr lang="ru-RU" sz="1050" dirty="0">
                <a:solidFill>
                  <a:schemeClr val="tx1"/>
                </a:solidFill>
                <a:latin typeface="+mn-lt"/>
              </a:rPr>
              <a:t>Линия </a:t>
            </a:r>
            <a:r>
              <a:rPr lang="ru-RU" sz="1050" dirty="0" smtClean="0">
                <a:solidFill>
                  <a:schemeClr val="tx1"/>
                </a:solidFill>
                <a:latin typeface="+mn-lt"/>
              </a:rPr>
              <a:t>УМК</a:t>
            </a:r>
            <a:r>
              <a:rPr lang="ru-RU" sz="1050" dirty="0" smtClean="0"/>
              <a:t> Пономаревой И.Н.и </a:t>
            </a:r>
            <a:r>
              <a:rPr lang="ru-RU" sz="1050" dirty="0" err="1" smtClean="0"/>
              <a:t>др</a:t>
            </a:r>
            <a:r>
              <a:rPr lang="ru-RU" sz="1050" dirty="0" smtClean="0"/>
              <a:t> (концентрический вариант)</a:t>
            </a:r>
            <a:endParaRPr lang="ru-RU" sz="1050" dirty="0">
              <a:latin typeface="+mn-lt"/>
            </a:endParaRPr>
          </a:p>
        </p:txBody>
      </p:sp>
      <p:cxnSp>
        <p:nvCxnSpPr>
          <p:cNvPr id="90" name="Прямая соединительная линия 89"/>
          <p:cNvCxnSpPr/>
          <p:nvPr/>
        </p:nvCxnSpPr>
        <p:spPr>
          <a:xfrm flipH="1">
            <a:off x="106375" y="3831900"/>
            <a:ext cx="8424000" cy="0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1" name="Прямая соединительная линия 90"/>
          <p:cNvCxnSpPr/>
          <p:nvPr/>
        </p:nvCxnSpPr>
        <p:spPr>
          <a:xfrm flipV="1">
            <a:off x="2830076" y="1676424"/>
            <a:ext cx="0" cy="3912934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2" name="Прямая соединительная линия 91"/>
          <p:cNvCxnSpPr/>
          <p:nvPr/>
        </p:nvCxnSpPr>
        <p:spPr>
          <a:xfrm flipH="1">
            <a:off x="106375" y="2110124"/>
            <a:ext cx="8424000" cy="0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3" name="Прямая соединительная линия 92"/>
          <p:cNvCxnSpPr/>
          <p:nvPr/>
        </p:nvCxnSpPr>
        <p:spPr>
          <a:xfrm flipV="1">
            <a:off x="1057532" y="1685388"/>
            <a:ext cx="0" cy="3912934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4" name="Прямая соединительная линия 93"/>
          <p:cNvCxnSpPr/>
          <p:nvPr/>
        </p:nvCxnSpPr>
        <p:spPr>
          <a:xfrm flipV="1">
            <a:off x="4692266" y="1685388"/>
            <a:ext cx="0" cy="3912934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5" name="Прямая соединительная линия 94"/>
          <p:cNvCxnSpPr/>
          <p:nvPr/>
        </p:nvCxnSpPr>
        <p:spPr>
          <a:xfrm flipV="1">
            <a:off x="6509633" y="1696445"/>
            <a:ext cx="0" cy="3912934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116" name="Скругленный прямоугольник 115"/>
          <p:cNvSpPr/>
          <p:nvPr/>
        </p:nvSpPr>
        <p:spPr>
          <a:xfrm>
            <a:off x="3174054" y="3448523"/>
            <a:ext cx="1227616" cy="313919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ФП</a:t>
            </a:r>
            <a:r>
              <a:rPr lang="ru-RU" sz="900" b="1" dirty="0" smtClean="0">
                <a:latin typeface="Calibri" panose="020F0502020204030204" pitchFamily="34" charset="0"/>
              </a:rPr>
              <a:t> № 1.2.5.2.3.1 – 1.2.5.2.3.5</a:t>
            </a:r>
            <a:endParaRPr lang="ru-RU" sz="900" b="1" dirty="0"/>
          </a:p>
        </p:txBody>
      </p:sp>
      <p:sp>
        <p:nvSpPr>
          <p:cNvPr id="35" name="Text Placeholder 3"/>
          <p:cNvSpPr txBox="1">
            <a:spLocks/>
          </p:cNvSpPr>
          <p:nvPr/>
        </p:nvSpPr>
        <p:spPr>
          <a:xfrm>
            <a:off x="4699083" y="1698416"/>
            <a:ext cx="1764390" cy="398510"/>
          </a:xfrm>
          <a:prstGeom prst="rect">
            <a:avLst/>
          </a:prstGeom>
        </p:spPr>
        <p:txBody>
          <a:bodyPr vert="horz" lIns="54000" tIns="54000" rIns="27000" bIns="54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>
              <a:lnSpc>
                <a:spcPts val="1050"/>
              </a:lnSpc>
            </a:pPr>
            <a:r>
              <a:rPr lang="ru-RU" sz="1050" dirty="0">
                <a:latin typeface="+mn-lt"/>
              </a:rPr>
              <a:t>Линия УМК </a:t>
            </a:r>
            <a:r>
              <a:rPr lang="ru-RU" sz="1050" dirty="0" err="1" smtClean="0">
                <a:latin typeface="+mn-lt"/>
              </a:rPr>
              <a:t>Сивоглазова</a:t>
            </a:r>
            <a:r>
              <a:rPr lang="ru-RU" sz="1050" dirty="0" smtClean="0">
                <a:latin typeface="+mn-lt"/>
              </a:rPr>
              <a:t> В.И. </a:t>
            </a:r>
            <a:endParaRPr lang="ru-RU" sz="1050" dirty="0">
              <a:latin typeface="+mn-lt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1290616" y="3457487"/>
            <a:ext cx="1353974" cy="313919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ФП</a:t>
            </a:r>
            <a:r>
              <a:rPr lang="ru-RU" sz="900" b="1" dirty="0" smtClean="0">
                <a:latin typeface="Calibri" panose="020F0502020204030204" pitchFamily="34" charset="0"/>
              </a:rPr>
              <a:t> № 1.2.5.2.6.1 – 1.2.5.2.6.4</a:t>
            </a:r>
            <a:endParaRPr lang="ru-RU" sz="900" b="1" dirty="0"/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4987451" y="5163373"/>
            <a:ext cx="1180279" cy="313919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ФП</a:t>
            </a:r>
            <a:r>
              <a:rPr lang="ru-RU" sz="900" b="1" dirty="0" smtClean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 1.3.5.6.1.1-      1.3.5.6.1.2</a:t>
            </a:r>
            <a:endParaRPr lang="ru-RU" sz="900" b="1" dirty="0"/>
          </a:p>
        </p:txBody>
      </p:sp>
      <p:pic>
        <p:nvPicPr>
          <p:cNvPr id="39" name="Рисунок 38" descr="Биология. 5-6 кл. Учебник.">
            <a:hlinkClick r:id="rId3" tooltip="&quot;Биология. 5-6 кл. Учебник.&quot;"/>
          </p:cNvPr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74387" y="2384612"/>
            <a:ext cx="672353" cy="923364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40" name="Рисунок 39" descr="Биология. 9  класс. Учебник">
            <a:hlinkClick r:id="rId5" tooltip="&quot;Биология. 9  класс. Учебник&quot;"/>
          </p:cNvPr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837766" y="2259108"/>
            <a:ext cx="717177" cy="914400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41" name="Рисунок 40" descr="Биология. 5 класс. Учебник">
            <a:hlinkClick r:id="rId7" tooltip="&quot;Биология. 5 класс. Учебник&quot;"/>
          </p:cNvPr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007567" y="2442919"/>
            <a:ext cx="720080" cy="936104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42" name="Рисунок 41" descr="Биология. 9 класс. Учебник.">
            <a:hlinkClick r:id="rId9" tooltip="&quot;Биология. 9 класс. Учебник.&quot;"/>
          </p:cNvPr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653317" y="2247365"/>
            <a:ext cx="720080" cy="936104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sp>
        <p:nvSpPr>
          <p:cNvPr id="46" name="Скругленный прямоугольник 45"/>
          <p:cNvSpPr/>
          <p:nvPr/>
        </p:nvSpPr>
        <p:spPr>
          <a:xfrm>
            <a:off x="4852981" y="3451092"/>
            <a:ext cx="1341643" cy="313919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ФП</a:t>
            </a:r>
            <a:r>
              <a:rPr lang="ru-RU" sz="900" b="1" dirty="0" smtClean="0">
                <a:latin typeface="Calibri" panose="020F0502020204030204" pitchFamily="34" charset="0"/>
              </a:rPr>
              <a:t> № 1.2.5.2.5.1 – 1.2.5.2.5.5 </a:t>
            </a:r>
            <a:endParaRPr lang="ru-RU" sz="900" b="1" dirty="0"/>
          </a:p>
        </p:txBody>
      </p:sp>
      <p:sp>
        <p:nvSpPr>
          <p:cNvPr id="47" name="Прямоугольник 46"/>
          <p:cNvSpPr/>
          <p:nvPr/>
        </p:nvSpPr>
        <p:spPr>
          <a:xfrm>
            <a:off x="6762812" y="1734517"/>
            <a:ext cx="1588897" cy="2333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050"/>
              </a:lnSpc>
            </a:pPr>
            <a:r>
              <a:rPr lang="ru-RU" sz="105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Линия УМК Сонина Н.И. </a:t>
            </a:r>
            <a:endParaRPr lang="ru-RU" sz="105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50" name="Рисунок 49" descr="Общая биология. 10 класс. Учебник. Базовый уровень. ВЕРТИКАЛЬ">
            <a:hlinkClick r:id="rId11" tooltip="&quot;Общая биология. 10 класс. Учебник. Базовый уровень. ВЕРТИКАЛЬ&quot;"/>
          </p:cNvPr>
          <p:cNvPicPr/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750424" y="4203702"/>
            <a:ext cx="720914" cy="915144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51" name="Рисунок 50" descr="Общая биология. 11 класс. Учебник. Базовый уровень. (Красный). ВЕРТИКАЛЬ">
            <a:hlinkClick r:id="rId13" tooltip="&quot;Общая биология. 11 класс. Учебник. Базовый уровень. (Красный). ВЕРТИКАЛЬ&quot;"/>
          </p:cNvPr>
          <p:cNvPicPr/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422776" y="4055078"/>
            <a:ext cx="671772" cy="947228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sp>
        <p:nvSpPr>
          <p:cNvPr id="52" name="Скругленный прямоугольник 51"/>
          <p:cNvSpPr/>
          <p:nvPr/>
        </p:nvSpPr>
        <p:spPr>
          <a:xfrm>
            <a:off x="7112077" y="5217161"/>
            <a:ext cx="1135454" cy="313919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ФП</a:t>
            </a:r>
            <a:r>
              <a:rPr lang="ru-RU" sz="900" b="1" dirty="0" smtClean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 1.3.5.6.6.1-      1.3.5.6.6.2</a:t>
            </a:r>
            <a:endParaRPr lang="ru-RU" sz="900" b="1" dirty="0"/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76800" y="2400529"/>
            <a:ext cx="672352" cy="970185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3" name="Рисунок 52" descr="cover1_9kl.jp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5513294" y="2151550"/>
            <a:ext cx="651303" cy="939821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944554" y="4095817"/>
            <a:ext cx="667363" cy="970109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5" name="Рисунок 54" descr="cover1_11kl.jpg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5573341" y="3943036"/>
            <a:ext cx="675060" cy="974102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844768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extLst/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p:oleObj spid="_x0000_s505858" name="think-cell Slide" r:id="rId5" imgW="360" imgH="360" progId="">
              <p:embed/>
            </p:oleObj>
          </a:graphicData>
        </a:graphic>
      </p:graphicFrame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6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889604" y="4151802"/>
            <a:ext cx="707548" cy="99288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882159" y="1759333"/>
            <a:ext cx="688100" cy="1013206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ru-RU" sz="1800" dirty="0">
                <a:latin typeface="+mj-lt"/>
              </a:rPr>
              <a:t>ТЕКУЩИЙ ПОРТФЕЛЬ КОРПОРАЦИИ «РОССИЙСКИЙ УЧЕБНИК» </a:t>
            </a:r>
            <a:br>
              <a:rPr lang="ru-RU" sz="1800" dirty="0">
                <a:latin typeface="+mj-lt"/>
              </a:rPr>
            </a:br>
            <a:r>
              <a:rPr lang="ru-RU" sz="1800" dirty="0">
                <a:solidFill>
                  <a:srgbClr val="EB2049"/>
                </a:solidFill>
                <a:latin typeface="+mj-lt"/>
              </a:rPr>
              <a:t>ПО БИОЛОГИИ, ДОСТУПНЫЙ ДЛЯ ЗАКУПКИ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2700324" y="6446354"/>
            <a:ext cx="631816" cy="216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3348402" y="6369688"/>
            <a:ext cx="856787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181818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Учебники ФП 2018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827872" y="6438938"/>
            <a:ext cx="1872452" cy="2308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181818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Учебные пособия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79802" y="6446354"/>
            <a:ext cx="631816" cy="216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5" name="Рисунок 74"/>
          <p:cNvPicPr>
            <a:picLocks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582523" y="1792952"/>
            <a:ext cx="532283" cy="7986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6" name="Рисунок 75"/>
          <p:cNvPicPr>
            <a:picLocks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528241" y="4195482"/>
            <a:ext cx="724206" cy="89811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7" name="Рисунок 76"/>
          <p:cNvPicPr>
            <a:picLocks/>
          </p:cNvPicPr>
          <p:nvPr/>
        </p:nvPicPr>
        <p:blipFill rotWithShape="1">
          <a:blip r:embed="rId10" cstate="print"/>
          <a:srcRect l="2357" t="718"/>
          <a:stretch/>
        </p:blipFill>
        <p:spPr>
          <a:xfrm>
            <a:off x="5387794" y="4028275"/>
            <a:ext cx="585721" cy="911278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8" name="Рисунок 77"/>
          <p:cNvPicPr>
            <a:picLocks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4429122" y="1828811"/>
            <a:ext cx="662832" cy="84345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9" name="Text Placeholder 3"/>
          <p:cNvSpPr txBox="1">
            <a:spLocks/>
          </p:cNvSpPr>
          <p:nvPr/>
        </p:nvSpPr>
        <p:spPr>
          <a:xfrm>
            <a:off x="1089175" y="1073360"/>
            <a:ext cx="1323000" cy="638853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600"/>
              </a:spcBef>
              <a:spcAft>
                <a:spcPts val="0"/>
              </a:spcAft>
              <a:buClr>
                <a:srgbClr val="2D3494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81818">
                    <a:lumMod val="90000"/>
                    <a:lumOff val="1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иния УМК Пасечника В.В.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223111" y="2557449"/>
            <a:ext cx="117584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D3494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ОСНОВНАЯ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D3494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ШКОЛА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223111" y="4737879"/>
            <a:ext cx="117584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D3494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СТАРШАЯ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D3494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ШКОЛА</a:t>
            </a:r>
          </a:p>
        </p:txBody>
      </p:sp>
      <p:sp>
        <p:nvSpPr>
          <p:cNvPr id="82" name="Text Placeholder 3"/>
          <p:cNvSpPr txBox="1">
            <a:spLocks/>
          </p:cNvSpPr>
          <p:nvPr/>
        </p:nvSpPr>
        <p:spPr>
          <a:xfrm>
            <a:off x="2324085" y="1090893"/>
            <a:ext cx="1831000" cy="638853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600"/>
              </a:spcBef>
              <a:spcAft>
                <a:spcPts val="0"/>
              </a:spcAft>
              <a:buClr>
                <a:srgbClr val="2D3494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иния УМК Пономаревой И.Н. и др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81818">
                  <a:lumMod val="90000"/>
                  <a:lumOff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3" name="Text Placeholder 3"/>
          <p:cNvSpPr txBox="1">
            <a:spLocks/>
          </p:cNvSpPr>
          <p:nvPr/>
        </p:nvSpPr>
        <p:spPr>
          <a:xfrm>
            <a:off x="4291559" y="1088381"/>
            <a:ext cx="1640601" cy="638853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600"/>
              </a:spcBef>
              <a:spcAft>
                <a:spcPts val="0"/>
              </a:spcAft>
              <a:buClr>
                <a:srgbClr val="2D3494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иния УМК Сонина Н.И. и др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81818">
                  <a:lumMod val="90000"/>
                  <a:lumOff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6" name="Text Placeholder 3"/>
          <p:cNvSpPr txBox="1">
            <a:spLocks/>
          </p:cNvSpPr>
          <p:nvPr/>
        </p:nvSpPr>
        <p:spPr>
          <a:xfrm>
            <a:off x="6060401" y="1082791"/>
            <a:ext cx="1323000" cy="638853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600"/>
              </a:spcBef>
              <a:spcAft>
                <a:spcPts val="0"/>
              </a:spcAft>
              <a:buClr>
                <a:srgbClr val="2D3494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иния УМК Суховой Т.С. и др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81818">
                  <a:lumMod val="90000"/>
                  <a:lumOff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9" name="Text Placeholder 3"/>
          <p:cNvSpPr txBox="1">
            <a:spLocks/>
          </p:cNvSpPr>
          <p:nvPr/>
        </p:nvSpPr>
        <p:spPr>
          <a:xfrm>
            <a:off x="7428527" y="1062786"/>
            <a:ext cx="1323000" cy="638853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600"/>
              </a:spcBef>
              <a:spcAft>
                <a:spcPts val="0"/>
              </a:spcAft>
              <a:buClr>
                <a:srgbClr val="2D3494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иния УМК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ивоглазова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В.И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181818">
                  <a:lumMod val="90000"/>
                  <a:lumOff val="1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0" name="Прямая соединительная линия 89"/>
          <p:cNvCxnSpPr/>
          <p:nvPr/>
        </p:nvCxnSpPr>
        <p:spPr>
          <a:xfrm flipH="1">
            <a:off x="106375" y="3909638"/>
            <a:ext cx="8424000" cy="0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1" name="Прямая соединительная линия 90"/>
          <p:cNvCxnSpPr/>
          <p:nvPr/>
        </p:nvCxnSpPr>
        <p:spPr>
          <a:xfrm flipV="1">
            <a:off x="2306491" y="1104189"/>
            <a:ext cx="0" cy="5217245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2" name="Прямая соединительная линия 91"/>
          <p:cNvCxnSpPr/>
          <p:nvPr/>
        </p:nvCxnSpPr>
        <p:spPr>
          <a:xfrm flipH="1">
            <a:off x="106375" y="1670498"/>
            <a:ext cx="8424000" cy="0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3" name="Прямая соединительная линия 92"/>
          <p:cNvCxnSpPr/>
          <p:nvPr/>
        </p:nvCxnSpPr>
        <p:spPr>
          <a:xfrm flipV="1">
            <a:off x="1057532" y="1104189"/>
            <a:ext cx="0" cy="5217245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4" name="Прямая соединительная линия 93"/>
          <p:cNvCxnSpPr/>
          <p:nvPr/>
        </p:nvCxnSpPr>
        <p:spPr>
          <a:xfrm flipV="1">
            <a:off x="4174787" y="1104189"/>
            <a:ext cx="0" cy="5217245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5" name="Прямая соединительная линия 94"/>
          <p:cNvCxnSpPr/>
          <p:nvPr/>
        </p:nvCxnSpPr>
        <p:spPr>
          <a:xfrm flipV="1">
            <a:off x="6059157" y="1104189"/>
            <a:ext cx="0" cy="5217245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96" name="Прямая соединительная линия 95"/>
          <p:cNvCxnSpPr/>
          <p:nvPr/>
        </p:nvCxnSpPr>
        <p:spPr>
          <a:xfrm flipH="1" flipV="1">
            <a:off x="7380695" y="1104186"/>
            <a:ext cx="0" cy="5013811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prstDash val="dash"/>
            <a:miter lim="800000"/>
            <a:headEnd type="none" w="med" len="med"/>
            <a:tailEnd type="none"/>
          </a:ln>
        </p:spPr>
      </p:cxnSp>
      <p:pic>
        <p:nvPicPr>
          <p:cNvPr id="97" name="Рисунок 96"/>
          <p:cNvPicPr>
            <a:picLocks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1501481" y="1909482"/>
            <a:ext cx="614190" cy="933098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8" name="Рисунок 97"/>
          <p:cNvPicPr>
            <a:picLocks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1210235" y="2224390"/>
            <a:ext cx="625530" cy="922222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9" name="Рисунок 98"/>
          <p:cNvPicPr>
            <a:picLocks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1308853" y="4446901"/>
            <a:ext cx="634201" cy="842287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0" name="Рисунок 99"/>
          <p:cNvPicPr>
            <a:picLocks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2635480" y="1810882"/>
            <a:ext cx="573884" cy="80759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1" name="Рисунок 100"/>
          <p:cNvPicPr>
            <a:picLocks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2339788" y="2098896"/>
            <a:ext cx="578834" cy="814645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2" name="Рисунок 101"/>
          <p:cNvPicPr>
            <a:picLocks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4276165" y="2224402"/>
            <a:ext cx="628970" cy="80568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3" name="Рисунок 102"/>
          <p:cNvPicPr>
            <a:picLocks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5405146" y="1882589"/>
            <a:ext cx="583278" cy="84345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4" name="Рисунок 103"/>
          <p:cNvPicPr>
            <a:picLocks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6476833" y="1927412"/>
            <a:ext cx="694934" cy="915168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5" name="Рисунок 104"/>
          <p:cNvPicPr>
            <a:picLocks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6248406" y="2296119"/>
            <a:ext cx="567079" cy="82361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6" name="Рисунок 105"/>
          <p:cNvPicPr>
            <a:picLocks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3393565" y="4099992"/>
            <a:ext cx="54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7" name="Рисунок 106"/>
          <p:cNvPicPr>
            <a:picLocks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2639585" y="4099992"/>
            <a:ext cx="540000" cy="9936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8" name="Рисунок 107"/>
          <p:cNvPicPr>
            <a:picLocks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2456331" y="4399770"/>
            <a:ext cx="593452" cy="826654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9" name="Рисунок 108"/>
          <p:cNvPicPr>
            <a:picLocks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3290047" y="4399770"/>
            <a:ext cx="588932" cy="826654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0" name="Рисунок 109"/>
          <p:cNvPicPr>
            <a:picLocks/>
          </p:cNvPicPr>
          <p:nvPr/>
        </p:nvPicPr>
        <p:blipFill>
          <a:blip r:embed="rId25" cstate="print"/>
          <a:stretch>
            <a:fillRect/>
          </a:stretch>
        </p:blipFill>
        <p:spPr>
          <a:xfrm>
            <a:off x="4639713" y="4028274"/>
            <a:ext cx="540000" cy="9936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1" name="Рисунок 110"/>
          <p:cNvPicPr>
            <a:picLocks/>
          </p:cNvPicPr>
          <p:nvPr/>
        </p:nvPicPr>
        <p:blipFill>
          <a:blip r:embed="rId26" cstate="print"/>
          <a:stretch>
            <a:fillRect/>
          </a:stretch>
        </p:blipFill>
        <p:spPr>
          <a:xfrm>
            <a:off x="4320993" y="4238417"/>
            <a:ext cx="539879" cy="889407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2" name="Рисунок 111"/>
          <p:cNvPicPr>
            <a:picLocks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5307111" y="4328064"/>
            <a:ext cx="503161" cy="817689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3" name="Рисунок 112"/>
          <p:cNvPicPr>
            <a:picLocks/>
          </p:cNvPicPr>
          <p:nvPr/>
        </p:nvPicPr>
        <p:blipFill>
          <a:blip r:embed="rId28" cstate="print"/>
          <a:stretch>
            <a:fillRect/>
          </a:stretch>
        </p:blipFill>
        <p:spPr>
          <a:xfrm>
            <a:off x="6149794" y="4399770"/>
            <a:ext cx="707695" cy="862512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4" name="Рисунок 113"/>
          <p:cNvPicPr>
            <a:picLocks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5163670" y="2251296"/>
            <a:ext cx="588638" cy="80568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5" name="Прямоугольник 114"/>
          <p:cNvSpPr/>
          <p:nvPr/>
        </p:nvSpPr>
        <p:spPr>
          <a:xfrm>
            <a:off x="1086716" y="3668990"/>
            <a:ext cx="1188132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ебное пособие</a:t>
            </a:r>
          </a:p>
        </p:txBody>
      </p:sp>
      <p:sp>
        <p:nvSpPr>
          <p:cNvPr id="116" name="Скругленный прямоугольник 115"/>
          <p:cNvSpPr/>
          <p:nvPr/>
        </p:nvSpPr>
        <p:spPr>
          <a:xfrm>
            <a:off x="2316695" y="3137647"/>
            <a:ext cx="892671" cy="682614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П 1.2.5.2.6.1 – 1.2.5.2.6.4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4315363" y="3668990"/>
            <a:ext cx="1622036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ебное пособие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6099033" y="3668990"/>
            <a:ext cx="1188132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ебное пособие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1089175" y="5823532"/>
            <a:ext cx="1188132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ебное пособие</a:t>
            </a:r>
          </a:p>
        </p:txBody>
      </p:sp>
      <p:sp>
        <p:nvSpPr>
          <p:cNvPr id="120" name="Прямоугольник 119"/>
          <p:cNvSpPr/>
          <p:nvPr/>
        </p:nvSpPr>
        <p:spPr>
          <a:xfrm>
            <a:off x="2409685" y="5823532"/>
            <a:ext cx="1578725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ебное пособие</a:t>
            </a:r>
          </a:p>
        </p:txBody>
      </p:sp>
      <p:sp>
        <p:nvSpPr>
          <p:cNvPr id="121" name="Прямоугольник 120"/>
          <p:cNvSpPr/>
          <p:nvPr/>
        </p:nvSpPr>
        <p:spPr>
          <a:xfrm>
            <a:off x="6099033" y="5823532"/>
            <a:ext cx="1188132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ебное пособие</a:t>
            </a:r>
          </a:p>
        </p:txBody>
      </p:sp>
      <p:pic>
        <p:nvPicPr>
          <p:cNvPr id="126" name="Рисунок 125"/>
          <p:cNvPicPr>
            <a:picLocks/>
          </p:cNvPicPr>
          <p:nvPr/>
        </p:nvPicPr>
        <p:blipFill>
          <a:blip r:embed="rId30" cstate="print"/>
          <a:stretch>
            <a:fillRect/>
          </a:stretch>
        </p:blipFill>
        <p:spPr>
          <a:xfrm>
            <a:off x="3263158" y="2125779"/>
            <a:ext cx="525971" cy="7787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7" name="Скругленный прямоугольник 126"/>
          <p:cNvSpPr/>
          <p:nvPr/>
        </p:nvSpPr>
        <p:spPr>
          <a:xfrm>
            <a:off x="3256008" y="3155578"/>
            <a:ext cx="858797" cy="682615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П 1.2.5.2.3.1 – 1.2.5.2.3.5</a:t>
            </a:r>
          </a:p>
        </p:txBody>
      </p:sp>
      <p:sp>
        <p:nvSpPr>
          <p:cNvPr id="128" name="Скругленный прямоугольник 127"/>
          <p:cNvSpPr/>
          <p:nvPr/>
        </p:nvSpPr>
        <p:spPr>
          <a:xfrm>
            <a:off x="4261590" y="5360894"/>
            <a:ext cx="866224" cy="735106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П 1.3.5.6.6.1 – 1.3.5.6.6.2</a:t>
            </a:r>
          </a:p>
        </p:txBody>
      </p:sp>
      <p:sp>
        <p:nvSpPr>
          <p:cNvPr id="129" name="Скругленный прямоугольник 128"/>
          <p:cNvSpPr/>
          <p:nvPr/>
        </p:nvSpPr>
        <p:spPr>
          <a:xfrm>
            <a:off x="7561324" y="3128690"/>
            <a:ext cx="874466" cy="709509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П 1.2.5.2.5.1 – 1.2.5.2.5.5</a:t>
            </a:r>
          </a:p>
        </p:txBody>
      </p:sp>
      <p:sp>
        <p:nvSpPr>
          <p:cNvPr id="130" name="Скругленный прямоугольник 129"/>
          <p:cNvSpPr/>
          <p:nvPr/>
        </p:nvSpPr>
        <p:spPr>
          <a:xfrm>
            <a:off x="7570292" y="5486401"/>
            <a:ext cx="910325" cy="699246"/>
          </a:xfrm>
          <a:prstGeom prst="roundRect">
            <a:avLst>
              <a:gd name="adj" fmla="val 0"/>
            </a:avLst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П 1.3.5.6.1.1 – 1.3.5.6.1.2</a:t>
            </a:r>
          </a:p>
        </p:txBody>
      </p:sp>
      <p:sp>
        <p:nvSpPr>
          <p:cNvPr id="131" name="Прямоугольник 130"/>
          <p:cNvSpPr/>
          <p:nvPr/>
        </p:nvSpPr>
        <p:spPr>
          <a:xfrm>
            <a:off x="5106527" y="5823532"/>
            <a:ext cx="908592" cy="169200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ебное пособие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1" cstate="print"/>
          <a:stretch>
            <a:fillRect/>
          </a:stretch>
        </p:blipFill>
        <p:spPr>
          <a:xfrm>
            <a:off x="7521389" y="2069264"/>
            <a:ext cx="627531" cy="94674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494495" y="4399782"/>
            <a:ext cx="678616" cy="99288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844768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720935568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p:oleObj spid="_x0000_s501762" name="think-cell Slide" r:id="rId5" imgW="360" imgH="360" progId="">
              <p:embed/>
            </p:oleObj>
          </a:graphicData>
        </a:graphic>
      </p:graphicFrame>
      <p:sp>
        <p:nvSpPr>
          <p:cNvPr id="9" name="Прямоугольник 8" hidden="1"/>
          <p:cNvSpPr/>
          <p:nvPr>
            <p:custDataLst>
              <p:tags r:id="rId2"/>
            </p:custDataLst>
          </p:nvPr>
        </p:nvSpPr>
        <p:spPr>
          <a:xfrm>
            <a:off x="10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8434" name="Picture 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192" y="1608"/>
            <a:ext cx="1190" cy="15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8435" name="Rectangle 2" hidden="1"/>
          <p:cNvSpPr>
            <a:spLocks noChangeArrowheads="1"/>
          </p:cNvSpPr>
          <p:nvPr/>
        </p:nvSpPr>
        <p:spPr bwMode="auto">
          <a:xfrm>
            <a:off x="10" y="0"/>
            <a:ext cx="119047" cy="158750"/>
          </a:xfrm>
          <a:prstGeom prst="rect">
            <a:avLst/>
          </a:prstGeom>
          <a:solidFill>
            <a:srgbClr val="A3CEED"/>
          </a:solidFill>
          <a:ln w="9360" cap="sq">
            <a:solidFill>
              <a:srgbClr val="A3CEED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8437" name="Rectangle 4"/>
          <p:cNvSpPr>
            <a:spLocks noChangeArrowheads="1"/>
          </p:cNvSpPr>
          <p:nvPr/>
        </p:nvSpPr>
        <p:spPr bwMode="auto">
          <a:xfrm>
            <a:off x="1877383" y="6461125"/>
            <a:ext cx="630949" cy="215900"/>
          </a:xfrm>
          <a:prstGeom prst="rect">
            <a:avLst/>
          </a:prstGeom>
          <a:solidFill>
            <a:srgbClr val="2D3494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8438" name="Rectangle 5"/>
          <p:cNvSpPr>
            <a:spLocks noChangeArrowheads="1"/>
          </p:cNvSpPr>
          <p:nvPr/>
        </p:nvSpPr>
        <p:spPr bwMode="auto">
          <a:xfrm>
            <a:off x="2567855" y="6373806"/>
            <a:ext cx="855947" cy="3715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900" dirty="0">
                <a:solidFill>
                  <a:srgbClr val="525252"/>
                </a:solidFill>
                <a:latin typeface="Calibri" pitchFamily="34" charset="0"/>
              </a:rPr>
              <a:t>Учебники ФП 2018</a:t>
            </a:r>
          </a:p>
        </p:txBody>
      </p:sp>
      <p:sp>
        <p:nvSpPr>
          <p:cNvPr id="18440" name="Rectangle 7"/>
          <p:cNvSpPr>
            <a:spLocks noChangeArrowheads="1"/>
          </p:cNvSpPr>
          <p:nvPr/>
        </p:nvSpPr>
        <p:spPr bwMode="auto">
          <a:xfrm>
            <a:off x="179762" y="6446838"/>
            <a:ext cx="632139" cy="215900"/>
          </a:xfrm>
          <a:prstGeom prst="rect">
            <a:avLst/>
          </a:prstGeom>
          <a:solidFill>
            <a:srgbClr val="D1E7F6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8442" name="Text Box 9"/>
          <p:cNvSpPr txBox="1">
            <a:spLocks noChangeArrowheads="1"/>
          </p:cNvSpPr>
          <p:nvPr/>
        </p:nvSpPr>
        <p:spPr bwMode="auto">
          <a:xfrm>
            <a:off x="112642" y="2375576"/>
            <a:ext cx="900379" cy="4308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rgbClr val="2D3494"/>
                </a:solidFill>
              </a:rPr>
              <a:t>ОСНОВНОЕ</a:t>
            </a:r>
          </a:p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rgbClr val="2D3494"/>
                </a:solidFill>
              </a:rPr>
              <a:t>ОБЩЕЕ</a:t>
            </a:r>
          </a:p>
        </p:txBody>
      </p:sp>
      <p:sp>
        <p:nvSpPr>
          <p:cNvPr id="18443" name="Text Box 10"/>
          <p:cNvSpPr txBox="1">
            <a:spLocks noChangeArrowheads="1"/>
          </p:cNvSpPr>
          <p:nvPr/>
        </p:nvSpPr>
        <p:spPr bwMode="auto">
          <a:xfrm>
            <a:off x="282961" y="4870462"/>
            <a:ext cx="774176" cy="861774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400" b="1" dirty="0">
                <a:solidFill>
                  <a:srgbClr val="2D3494"/>
                </a:solidFill>
                <a:latin typeface="+mn-lt"/>
                <a:ea typeface="Microsoft YaHei" charset="-122"/>
              </a:rPr>
              <a:t> СРЕДНЕЕ</a:t>
            </a:r>
          </a:p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400" b="1" dirty="0">
                <a:solidFill>
                  <a:srgbClr val="2D3494"/>
                </a:solidFill>
                <a:latin typeface="+mn-lt"/>
                <a:ea typeface="Microsoft YaHei" charset="-122"/>
              </a:rPr>
              <a:t> (ПОЛНОЕ)</a:t>
            </a:r>
          </a:p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400" b="1" dirty="0">
                <a:solidFill>
                  <a:srgbClr val="2D3494"/>
                </a:solidFill>
                <a:latin typeface="+mn-lt"/>
                <a:ea typeface="Microsoft YaHei" charset="-122"/>
              </a:rPr>
              <a:t> ОБЩЕЕ</a:t>
            </a:r>
          </a:p>
        </p:txBody>
      </p:sp>
      <p:sp>
        <p:nvSpPr>
          <p:cNvPr id="18445" name="Line 12"/>
          <p:cNvSpPr>
            <a:spLocks noChangeShapeType="1"/>
          </p:cNvSpPr>
          <p:nvPr/>
        </p:nvSpPr>
        <p:spPr bwMode="auto">
          <a:xfrm flipH="1">
            <a:off x="104771" y="4006215"/>
            <a:ext cx="8426147" cy="1588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46" name="Line 13"/>
          <p:cNvSpPr>
            <a:spLocks noChangeShapeType="1"/>
          </p:cNvSpPr>
          <p:nvPr/>
        </p:nvSpPr>
        <p:spPr bwMode="auto">
          <a:xfrm flipH="1" flipV="1">
            <a:off x="5071934" y="1054903"/>
            <a:ext cx="0" cy="2938789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47" name="Line 14"/>
          <p:cNvSpPr>
            <a:spLocks noChangeShapeType="1"/>
          </p:cNvSpPr>
          <p:nvPr/>
        </p:nvSpPr>
        <p:spPr bwMode="auto">
          <a:xfrm flipH="1">
            <a:off x="8" y="1856515"/>
            <a:ext cx="8426147" cy="1588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48" name="Line 15"/>
          <p:cNvSpPr>
            <a:spLocks noChangeShapeType="1"/>
          </p:cNvSpPr>
          <p:nvPr/>
        </p:nvSpPr>
        <p:spPr bwMode="auto">
          <a:xfrm flipV="1">
            <a:off x="1218503" y="1121243"/>
            <a:ext cx="1191" cy="5219700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pic>
        <p:nvPicPr>
          <p:cNvPr id="75" name="Picture 25" descr="ÐÐ¸Ð¾Ð»Ð¾Ð³Ð¸Ñ. 9Â ÐºÐ»Ð°ÑÑ. Ð£ÑÐµÐ±Ð½Ð¸Ðº.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85270" y="1951358"/>
            <a:ext cx="763248" cy="112097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Прямоугольник 75"/>
          <p:cNvSpPr/>
          <p:nvPr/>
        </p:nvSpPr>
        <p:spPr>
          <a:xfrm>
            <a:off x="1570011" y="1070065"/>
            <a:ext cx="2343815" cy="6787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Линия УМК  </a:t>
            </a:r>
            <a:r>
              <a:rPr lang="ru-RU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И.Н.</a:t>
            </a:r>
            <a:r>
              <a:rPr lang="en-US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ru-RU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Пономаревой </a:t>
            </a:r>
            <a:r>
              <a:rPr lang="ru-RU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(концентрическая, 5-9)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1734806" y="3226468"/>
            <a:ext cx="2495589" cy="518474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Calibri" panose="020F0502020204030204" pitchFamily="34" charset="0"/>
              </a:rPr>
              <a:t>ФП № 1.2.5.2.3.1 – 1.2.5.2.3.5</a:t>
            </a:r>
          </a:p>
        </p:txBody>
      </p:sp>
      <p:pic>
        <p:nvPicPr>
          <p:cNvPr id="81" name="Picture 12" descr="ÐÐ¸Ð¾Ð»Ð¾Ð³Ð¸Ñ. 9 ÐºÐ»Ð°ÑÑ. Ð£ÑÐµÐ±Ð½Ð¸Ðº.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40547" y="1989135"/>
            <a:ext cx="783501" cy="112320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3" name="Прямоугольник 82"/>
          <p:cNvSpPr/>
          <p:nvPr/>
        </p:nvSpPr>
        <p:spPr>
          <a:xfrm>
            <a:off x="5865591" y="3236008"/>
            <a:ext cx="2241478" cy="519729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Calibri" panose="020F0502020204030204" pitchFamily="34" charset="0"/>
              </a:rPr>
              <a:t>ФП № 1.2.5.2.6.1 – 1.2.5.2.6.4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813048" y="6391286"/>
            <a:ext cx="93905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ики ФП 201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4</a:t>
            </a:r>
            <a:endParaRPr lang="ru-RU" sz="9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КУЩИЙ ПОРТФЕЛЬ КОРПОРАЦИИ «РОССИЙСКИЙ УЧЕБНИК» </a:t>
            </a:r>
            <a:br>
              <a:rPr lang="ru-RU" dirty="0"/>
            </a:br>
            <a:r>
              <a:rPr lang="ru-RU" dirty="0">
                <a:solidFill>
                  <a:srgbClr val="EB2049"/>
                </a:solidFill>
              </a:rPr>
              <a:t>ПО БИОЛОГИИ, ДОСТУПНЫЙ ДЛЯ </a:t>
            </a:r>
            <a:r>
              <a:rPr lang="ru-RU" dirty="0" smtClean="0">
                <a:solidFill>
                  <a:srgbClr val="EB2049"/>
                </a:solidFill>
              </a:rPr>
              <a:t>ЗАКУПКИ</a:t>
            </a:r>
            <a:endParaRPr lang="ru-RU" dirty="0">
              <a:solidFill>
                <a:srgbClr val="EB2049"/>
              </a:solidFill>
            </a:endParaRPr>
          </a:p>
        </p:txBody>
      </p:sp>
      <p:pic>
        <p:nvPicPr>
          <p:cNvPr id="54" name="Рисунок 53"/>
          <p:cNvPicPr>
            <a:picLocks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5691799" y="4201254"/>
            <a:ext cx="1130342" cy="1447727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5" name="Рисунок 54"/>
          <p:cNvPicPr>
            <a:picLocks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4025559" y="4201254"/>
            <a:ext cx="896075" cy="14477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6" name="Рисунок 55"/>
          <p:cNvPicPr>
            <a:picLocks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128691" y="4201254"/>
            <a:ext cx="1074299" cy="1447727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7" name="Рисунок 56"/>
          <p:cNvPicPr>
            <a:picLocks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5068716" y="4201254"/>
            <a:ext cx="1045223" cy="1447727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8" name="Прямоугольник 57"/>
          <p:cNvSpPr/>
          <p:nvPr/>
        </p:nvSpPr>
        <p:spPr>
          <a:xfrm>
            <a:off x="3528057" y="5781871"/>
            <a:ext cx="2889601" cy="289931"/>
          </a:xfrm>
          <a:prstGeom prst="rect">
            <a:avLst/>
          </a:prstGeom>
          <a:solidFill>
            <a:srgbClr val="D1E7F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Учебное пособие</a:t>
            </a:r>
          </a:p>
        </p:txBody>
      </p:sp>
      <p:pic>
        <p:nvPicPr>
          <p:cNvPr id="74" name="Picture 23" descr="ÐÐ¸Ð¾Ð»Ð¾Ð³Ð¸Ñ. 8Â ÐºÐ»Ð°ÑÑ. Ð£ÑÐµÐ±Ð½Ð¸Ðº.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66503" y="1951358"/>
            <a:ext cx="684156" cy="112097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21" descr="ÐÐ¸Ð¾Ð»Ð¾Ð³Ð¸Ñ. 7Â ÐºÐ»Ð°ÑÑ. Ð£ÑÐµÐ±Ð½Ð¸Ðº.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7747" y="1951358"/>
            <a:ext cx="676781" cy="112097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19" descr="ÐÐ¸Ð¾Ð»Ð¾Ð³Ð¸Ñ. 6Â ÐºÐ». Ð£ÑÐµÐ±Ð½Ð¸Ðº."/>
          <p:cNvPicPr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28972" y="1951358"/>
            <a:ext cx="678370" cy="112097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17" descr="ÐÐ¸Ð¾Ð»Ð¾Ð³Ð¸Ñ. 5Â ÐºÐ»Ð°ÑÑ. Ð£ÑÐµÐ±Ð½Ð¸Ðº"/>
          <p:cNvPicPr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46095" y="1940802"/>
            <a:ext cx="711534" cy="112097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56"/>
          <p:cNvGrpSpPr>
            <a:grpSpLocks/>
          </p:cNvGrpSpPr>
          <p:nvPr/>
        </p:nvGrpSpPr>
        <p:grpSpPr bwMode="auto">
          <a:xfrm>
            <a:off x="4664030" y="4112156"/>
            <a:ext cx="401028" cy="581025"/>
            <a:chOff x="5155" y="2533"/>
            <a:chExt cx="206" cy="366"/>
          </a:xfrm>
        </p:grpSpPr>
        <p:pic>
          <p:nvPicPr>
            <p:cNvPr id="85" name="Picture 58"/>
            <p:cNvPicPr>
              <a:picLocks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5155" y="2533"/>
              <a:ext cx="206" cy="206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sp>
          <p:nvSpPr>
            <p:cNvPr id="86" name="Text Box 60"/>
            <p:cNvSpPr txBox="1">
              <a:spLocks noChangeArrowheads="1"/>
            </p:cNvSpPr>
            <p:nvPr/>
          </p:nvSpPr>
          <p:spPr bwMode="auto">
            <a:xfrm>
              <a:off x="5211" y="2542"/>
              <a:ext cx="70" cy="357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square" lIns="0" tIns="12240" rIns="0" bIns="0">
              <a:spAutoFit/>
            </a:bodyPr>
            <a:lstStyle/>
            <a:p>
              <a:pPr marL="12700">
                <a:spcBef>
                  <a:spcPts val="100"/>
                </a:spcBef>
                <a:buClrTx/>
                <a:buFontTx/>
                <a:buNone/>
                <a:tabLst>
                  <a:tab pos="12700" algn="l"/>
                  <a:tab pos="927100" algn="l"/>
                  <a:tab pos="1841500" algn="l"/>
                  <a:tab pos="2755900" algn="l"/>
                  <a:tab pos="3670300" algn="l"/>
                  <a:tab pos="4584700" algn="l"/>
                  <a:tab pos="5499100" algn="l"/>
                  <a:tab pos="6413500" algn="l"/>
                  <a:tab pos="7327900" algn="l"/>
                  <a:tab pos="8242300" algn="l"/>
                  <a:tab pos="9156700" algn="l"/>
                  <a:tab pos="10071100" algn="l"/>
                </a:tabLst>
              </a:pPr>
              <a:r>
                <a:rPr lang="ru-RU" b="1" dirty="0">
                  <a:solidFill>
                    <a:srgbClr val="2D3494"/>
                  </a:solidFill>
                  <a:latin typeface="Calibri" pitchFamily="34" charset="0"/>
                </a:rPr>
                <a:t>Б</a:t>
              </a:r>
              <a:r>
                <a:rPr lang="ru-RU" dirty="0">
                  <a:solidFill>
                    <a:srgbClr val="2D3494"/>
                  </a:solidFill>
                  <a:latin typeface="Calibri" pitchFamily="34" charset="0"/>
                </a:rPr>
                <a:t> </a:t>
              </a:r>
            </a:p>
          </p:txBody>
        </p:sp>
      </p:grpSp>
      <p:pic>
        <p:nvPicPr>
          <p:cNvPr id="80" name="Picture 14" descr="https://articlerus.ru/wp-content/uploads/pic/ea7e9ee0000014df8002000001ff100a0191001ed9df0020004153d4d0d3c9189a1b53468f286309899301300036b8e6f211920dd2e57c7fc519e013481/b2940699dec756296c9370b39151c2d53817e2ee48a70a121d4fd3dc0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74551" y="1973797"/>
            <a:ext cx="747905" cy="11232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10" descr="ÐÐ¸Ð¾Ð»Ð¾Ð³Ð¸Ñ. 7 ÐºÐ»Ð°ÑÑ. Ð£ÑÐµÐ±Ð½Ð¸Ðº.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87045" y="1973815"/>
            <a:ext cx="760229" cy="112320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8" descr="ÐÐ¸Ð¾Ð»Ð¾Ð³Ð¸Ñ. 5-6Â ÐºÐ»Ð°ÑÑ. Ð£ÑÐµÐ±Ð½Ð¸Ðº.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45752" y="1973766"/>
            <a:ext cx="774031" cy="112320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76"/>
          <p:cNvGrpSpPr>
            <a:grpSpLocks/>
          </p:cNvGrpSpPr>
          <p:nvPr/>
        </p:nvGrpSpPr>
        <p:grpSpPr bwMode="auto">
          <a:xfrm>
            <a:off x="6346891" y="4093422"/>
            <a:ext cx="367674" cy="595314"/>
            <a:chOff x="6509" y="2548"/>
            <a:chExt cx="206" cy="375"/>
          </a:xfrm>
        </p:grpSpPr>
        <p:pic>
          <p:nvPicPr>
            <p:cNvPr id="88" name="Picture 78"/>
            <p:cNvPicPr>
              <a:picLocks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6509" y="2548"/>
              <a:ext cx="206" cy="206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sp>
          <p:nvSpPr>
            <p:cNvPr id="89" name="Text Box 80"/>
            <p:cNvSpPr txBox="1">
              <a:spLocks noChangeArrowheads="1"/>
            </p:cNvSpPr>
            <p:nvPr/>
          </p:nvSpPr>
          <p:spPr bwMode="auto">
            <a:xfrm>
              <a:off x="6567" y="2566"/>
              <a:ext cx="69" cy="357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square" lIns="0" tIns="12240" rIns="0" bIns="0">
              <a:spAutoFit/>
            </a:bodyPr>
            <a:lstStyle/>
            <a:p>
              <a:pPr marL="12700">
                <a:spcBef>
                  <a:spcPts val="100"/>
                </a:spcBef>
                <a:buClrTx/>
                <a:buFontTx/>
                <a:buNone/>
                <a:tabLst>
                  <a:tab pos="12700" algn="l"/>
                  <a:tab pos="927100" algn="l"/>
                  <a:tab pos="1841500" algn="l"/>
                  <a:tab pos="2755900" algn="l"/>
                  <a:tab pos="3670300" algn="l"/>
                  <a:tab pos="4584700" algn="l"/>
                  <a:tab pos="5499100" algn="l"/>
                  <a:tab pos="6413500" algn="l"/>
                  <a:tab pos="7327900" algn="l"/>
                  <a:tab pos="8242300" algn="l"/>
                  <a:tab pos="9156700" algn="l"/>
                  <a:tab pos="10071100" algn="l"/>
                </a:tabLst>
              </a:pPr>
              <a:r>
                <a:rPr lang="ru-RU" b="1" dirty="0">
                  <a:solidFill>
                    <a:srgbClr val="2D3494"/>
                  </a:solidFill>
                  <a:latin typeface="Calibri" pitchFamily="34" charset="0"/>
                </a:rPr>
                <a:t>У</a:t>
              </a:r>
              <a:r>
                <a:rPr lang="ru-RU" dirty="0">
                  <a:solidFill>
                    <a:srgbClr val="2D3494"/>
                  </a:solidFill>
                  <a:latin typeface="Calibri" pitchFamily="34" charset="0"/>
                </a:rPr>
                <a:t> </a:t>
              </a:r>
            </a:p>
          </p:txBody>
        </p:sp>
      </p:grpSp>
      <p:sp>
        <p:nvSpPr>
          <p:cNvPr id="59" name="Прямоугольник 58"/>
          <p:cNvSpPr/>
          <p:nvPr/>
        </p:nvSpPr>
        <p:spPr>
          <a:xfrm>
            <a:off x="5815355" y="1070065"/>
            <a:ext cx="2343815" cy="6787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Линия УМК  И.Н</a:t>
            </a:r>
            <a:r>
              <a:rPr lang="ru-RU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.</a:t>
            </a:r>
            <a:r>
              <a:rPr lang="en-US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ru-RU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Пономаревой (линейная, </a:t>
            </a:r>
            <a:r>
              <a:rPr lang="ru-RU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5-9)</a:t>
            </a:r>
          </a:p>
        </p:txBody>
      </p:sp>
    </p:spTree>
    <p:extLst>
      <p:ext uri="{BB962C8B-B14F-4D97-AF65-F5344CB8AC3E}">
        <p14:creationId xmlns:p14="http://schemas.microsoft.com/office/powerpoint/2010/main" xmlns="" val="178335298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50769409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p:oleObj spid="_x0000_s502786" name="think-cell Slide" r:id="rId5" imgW="360" imgH="360" progId="">
              <p:embed/>
            </p:oleObj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2"/>
            </p:custDataLst>
          </p:nvPr>
        </p:nvSpPr>
        <p:spPr>
          <a:xfrm>
            <a:off x="9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57" name="Picture 20" descr="ÐÐ¸Ð¾Ð»Ð¾Ð³Ð¸Ñ. 9 Â ÐºÐ»Ð°ÑÑ. Ð£ÑÐµÐ±Ð½Ð¸Ðº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62599" y="1926398"/>
            <a:ext cx="650491" cy="112506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434" name="Picture 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192" y="1608"/>
            <a:ext cx="1190" cy="15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8435" name="Rectangle 2" hidden="1"/>
          <p:cNvSpPr>
            <a:spLocks noChangeArrowheads="1"/>
          </p:cNvSpPr>
          <p:nvPr/>
        </p:nvSpPr>
        <p:spPr bwMode="auto">
          <a:xfrm>
            <a:off x="9" y="0"/>
            <a:ext cx="119047" cy="158750"/>
          </a:xfrm>
          <a:prstGeom prst="rect">
            <a:avLst/>
          </a:prstGeom>
          <a:solidFill>
            <a:srgbClr val="A3CEED"/>
          </a:solidFill>
          <a:ln w="9360" cap="sq">
            <a:solidFill>
              <a:srgbClr val="A3CEED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8437" name="Rectangle 4"/>
          <p:cNvSpPr>
            <a:spLocks noChangeArrowheads="1"/>
          </p:cNvSpPr>
          <p:nvPr/>
        </p:nvSpPr>
        <p:spPr bwMode="auto">
          <a:xfrm>
            <a:off x="1877382" y="6461125"/>
            <a:ext cx="630949" cy="215900"/>
          </a:xfrm>
          <a:prstGeom prst="rect">
            <a:avLst/>
          </a:prstGeom>
          <a:solidFill>
            <a:srgbClr val="2D3494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8438" name="Rectangle 5"/>
          <p:cNvSpPr>
            <a:spLocks noChangeArrowheads="1"/>
          </p:cNvSpPr>
          <p:nvPr/>
        </p:nvSpPr>
        <p:spPr bwMode="auto">
          <a:xfrm>
            <a:off x="2567854" y="6373805"/>
            <a:ext cx="855947" cy="3715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900" dirty="0">
                <a:solidFill>
                  <a:srgbClr val="525252"/>
                </a:solidFill>
                <a:latin typeface="Calibri" pitchFamily="34" charset="0"/>
              </a:rPr>
              <a:t>Учебники ФП 2018</a:t>
            </a:r>
          </a:p>
        </p:txBody>
      </p:sp>
      <p:sp>
        <p:nvSpPr>
          <p:cNvPr id="18440" name="Rectangle 7"/>
          <p:cNvSpPr>
            <a:spLocks noChangeArrowheads="1"/>
          </p:cNvSpPr>
          <p:nvPr/>
        </p:nvSpPr>
        <p:spPr bwMode="auto">
          <a:xfrm>
            <a:off x="179762" y="6446838"/>
            <a:ext cx="632139" cy="215900"/>
          </a:xfrm>
          <a:prstGeom prst="rect">
            <a:avLst/>
          </a:prstGeom>
          <a:solidFill>
            <a:srgbClr val="D1E7F6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8442" name="Text Box 9"/>
          <p:cNvSpPr txBox="1">
            <a:spLocks noChangeArrowheads="1"/>
          </p:cNvSpPr>
          <p:nvPr/>
        </p:nvSpPr>
        <p:spPr bwMode="auto">
          <a:xfrm>
            <a:off x="222627" y="2308067"/>
            <a:ext cx="1176185" cy="4302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rgbClr val="2D3494"/>
                </a:solidFill>
              </a:rPr>
              <a:t>ОСНОВНОЕ</a:t>
            </a:r>
          </a:p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rgbClr val="2D3494"/>
                </a:solidFill>
              </a:rPr>
              <a:t>ОБЩЕЕ</a:t>
            </a:r>
          </a:p>
        </p:txBody>
      </p:sp>
      <p:sp>
        <p:nvSpPr>
          <p:cNvPr id="18443" name="Text Box 10"/>
          <p:cNvSpPr txBox="1">
            <a:spLocks noChangeArrowheads="1"/>
          </p:cNvSpPr>
          <p:nvPr/>
        </p:nvSpPr>
        <p:spPr bwMode="auto">
          <a:xfrm>
            <a:off x="228109" y="4443990"/>
            <a:ext cx="1176185" cy="6461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400" b="1" dirty="0">
                <a:solidFill>
                  <a:srgbClr val="2D3494"/>
                </a:solidFill>
              </a:rPr>
              <a:t> СРЕДНЕЕ</a:t>
            </a:r>
          </a:p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400" b="1" dirty="0">
                <a:solidFill>
                  <a:srgbClr val="2D3494"/>
                </a:solidFill>
              </a:rPr>
              <a:t> (ПОЛНОЕ)</a:t>
            </a:r>
          </a:p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400" b="1" dirty="0">
                <a:solidFill>
                  <a:srgbClr val="2D3494"/>
                </a:solidFill>
              </a:rPr>
              <a:t> ОБЩЕЕ</a:t>
            </a:r>
          </a:p>
        </p:txBody>
      </p:sp>
      <p:sp>
        <p:nvSpPr>
          <p:cNvPr id="18445" name="Line 12"/>
          <p:cNvSpPr>
            <a:spLocks noChangeShapeType="1"/>
          </p:cNvSpPr>
          <p:nvPr/>
        </p:nvSpPr>
        <p:spPr bwMode="auto">
          <a:xfrm flipH="1">
            <a:off x="104770" y="3752215"/>
            <a:ext cx="8426147" cy="1588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46" name="Line 13"/>
          <p:cNvSpPr>
            <a:spLocks noChangeShapeType="1"/>
          </p:cNvSpPr>
          <p:nvPr/>
        </p:nvSpPr>
        <p:spPr bwMode="auto">
          <a:xfrm flipV="1">
            <a:off x="5101226" y="1054884"/>
            <a:ext cx="1191" cy="5219700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47" name="Line 14"/>
          <p:cNvSpPr>
            <a:spLocks noChangeShapeType="1"/>
          </p:cNvSpPr>
          <p:nvPr/>
        </p:nvSpPr>
        <p:spPr bwMode="auto">
          <a:xfrm flipH="1">
            <a:off x="8" y="1813485"/>
            <a:ext cx="8426147" cy="1588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48" name="Line 15"/>
          <p:cNvSpPr>
            <a:spLocks noChangeShapeType="1"/>
          </p:cNvSpPr>
          <p:nvPr/>
        </p:nvSpPr>
        <p:spPr bwMode="auto">
          <a:xfrm flipV="1">
            <a:off x="1173680" y="1139172"/>
            <a:ext cx="1191" cy="5219700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9" name="Rectangle 36"/>
          <p:cNvSpPr>
            <a:spLocks noChangeArrowheads="1"/>
          </p:cNvSpPr>
          <p:nvPr/>
        </p:nvSpPr>
        <p:spPr bwMode="auto">
          <a:xfrm>
            <a:off x="1766249" y="3240586"/>
            <a:ext cx="2771841" cy="333375"/>
          </a:xfrm>
          <a:prstGeom prst="rect">
            <a:avLst/>
          </a:prstGeom>
          <a:solidFill>
            <a:srgbClr val="D1E7F6"/>
          </a:solidFill>
          <a:ln w="9525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dirty="0"/>
              <a:t>Учебные пособия</a:t>
            </a:r>
          </a:p>
        </p:txBody>
      </p:sp>
      <p:sp>
        <p:nvSpPr>
          <p:cNvPr id="51" name="Rectangle 36"/>
          <p:cNvSpPr>
            <a:spLocks noChangeArrowheads="1"/>
          </p:cNvSpPr>
          <p:nvPr/>
        </p:nvSpPr>
        <p:spPr bwMode="auto">
          <a:xfrm>
            <a:off x="5516395" y="3240585"/>
            <a:ext cx="3064592" cy="333375"/>
          </a:xfrm>
          <a:prstGeom prst="rect">
            <a:avLst/>
          </a:prstGeom>
          <a:solidFill>
            <a:srgbClr val="D1E7F6"/>
          </a:solidFill>
          <a:ln w="9525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dirty="0"/>
              <a:t>Учебные пособия</a:t>
            </a:r>
          </a:p>
        </p:txBody>
      </p:sp>
      <p:sp>
        <p:nvSpPr>
          <p:cNvPr id="52" name="Rectangle 36"/>
          <p:cNvSpPr>
            <a:spLocks noChangeArrowheads="1"/>
          </p:cNvSpPr>
          <p:nvPr/>
        </p:nvSpPr>
        <p:spPr bwMode="auto">
          <a:xfrm>
            <a:off x="2245263" y="5702125"/>
            <a:ext cx="1979826" cy="331291"/>
          </a:xfrm>
          <a:prstGeom prst="rect">
            <a:avLst/>
          </a:prstGeom>
          <a:solidFill>
            <a:srgbClr val="D1E7F6"/>
          </a:solidFill>
          <a:ln w="9525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dirty="0"/>
              <a:t>Учебное пособие</a:t>
            </a:r>
          </a:p>
        </p:txBody>
      </p:sp>
      <p:pic>
        <p:nvPicPr>
          <p:cNvPr id="56" name="Picture 18" descr="ÐÐ¸Ð¾Ð»Ð¾Ð³Ð¸Ñ. 8Â ÐºÐ»Ð°ÑÑ. Ð£ÑÐµÐ±Ð½Ð¸Ðº.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36496" y="1926398"/>
            <a:ext cx="650491" cy="112506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5" descr="ÐÐ¸Ð¾Ð»Ð¾Ð³Ð¸Ñ. 7Â ÐºÐ». Ð£ÑÐµÐ±Ð½Ð¸Ðº.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10393" y="1926398"/>
            <a:ext cx="650491" cy="112506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5" descr="ÐÐ¸Ð¾Ð»Ð¾Ð³Ð¸Ñ. 9 ÐºÐ»Ð°ÑÑ. ÐÐ²ÐµÐ´ÐµÐ½Ð¸Ðµ Ð² Ð¾Ð±ÑÑÑ Ð±Ð¸Ð¾Ð»Ð¾Ð³Ð¸Ñ. Ð£ÑÐµÐ±Ð½Ð¸Ðº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50240" y="1947403"/>
            <a:ext cx="658155" cy="115154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Прямоугольник 41"/>
          <p:cNvSpPr/>
          <p:nvPr/>
        </p:nvSpPr>
        <p:spPr>
          <a:xfrm>
            <a:off x="869609" y="6372432"/>
            <a:ext cx="93905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ики ФП 201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4</a:t>
            </a:r>
            <a:endParaRPr lang="ru-RU" sz="9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КУЩИЙ ПОРТФЕЛЬ КОРПОРАЦИИ «РОССИЙСКИЙ УЧЕБНИК» </a:t>
            </a:r>
            <a:br>
              <a:rPr lang="ru-RU" dirty="0"/>
            </a:br>
            <a:r>
              <a:rPr lang="ru-RU" dirty="0">
                <a:solidFill>
                  <a:srgbClr val="EB2049"/>
                </a:solidFill>
              </a:rPr>
              <a:t>ПО БИОЛОГИИ, ДОСТУПНЫЙ ДЛЯ </a:t>
            </a:r>
            <a:r>
              <a:rPr lang="ru-RU" dirty="0" smtClean="0">
                <a:solidFill>
                  <a:srgbClr val="EB2049"/>
                </a:solidFill>
              </a:rPr>
              <a:t>ЗАКУПКИ</a:t>
            </a:r>
            <a:endParaRPr lang="ru-RU" dirty="0">
              <a:solidFill>
                <a:srgbClr val="EB2049"/>
              </a:solidFill>
            </a:endParaRPr>
          </a:p>
        </p:txBody>
      </p:sp>
      <p:pic>
        <p:nvPicPr>
          <p:cNvPr id="44" name="Рисунок 43"/>
          <p:cNvPicPr>
            <a:picLocks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334872" y="4150676"/>
            <a:ext cx="1039906" cy="1272987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5" name="Рисунок 44"/>
          <p:cNvPicPr>
            <a:picLocks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454596" y="4132729"/>
            <a:ext cx="1057837" cy="1362636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8" name="Прямоугольник 47"/>
          <p:cNvSpPr/>
          <p:nvPr/>
        </p:nvSpPr>
        <p:spPr>
          <a:xfrm>
            <a:off x="2011970" y="1036607"/>
            <a:ext cx="2343815" cy="6787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Линия УМК  Т.С. Суховой  (концентрическая)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5838214" y="1036607"/>
            <a:ext cx="2343815" cy="6787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Линия УМК  В.В. Пасечника </a:t>
            </a:r>
          </a:p>
          <a:p>
            <a:pPr algn="ctr"/>
            <a:r>
              <a:rPr lang="ru-RU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(концентрическая)</a:t>
            </a:r>
          </a:p>
        </p:txBody>
      </p:sp>
      <p:pic>
        <p:nvPicPr>
          <p:cNvPr id="55" name="Picture 13" descr="ÐÐ¸Ð¾Ð»Ð¾Ð³Ð¸Ñ. 6Â ÐºÐ». Ð£ÑÐµÐ±Ð½Ð¸Ðº.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84291" y="1926398"/>
            <a:ext cx="650491" cy="1125063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Рисунок 52"/>
          <p:cNvPicPr>
            <a:picLocks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1276308" y="1926382"/>
            <a:ext cx="650700" cy="1126800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2" name="Picture 13" descr="ÐÐ¸Ð¾Ð»Ð¾Ð³Ð¸Ñ. Ð§ÐµÐ»Ð¾Ð²ÐµÐº.8 ÐºÐ»Ð°ÑÑ. Ð£ÑÐµÐ±Ð½Ð¸Ðº. ÐÐÐ Ð¢ÐÐÐÐÐ¬"/>
          <p:cNvPicPr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42780" y="1947403"/>
            <a:ext cx="658155" cy="115154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1" descr="ÐÐ¸Ð¾Ð»Ð¾Ð³Ð¸Ñ. 7 ÐºÐ»Ð°ÑÑ. ÐÐ¸Ð²Ð¾ÑÐ½ÑÐµ. Ð£ÑÐµÐ±Ð½Ð¸Ðº"/>
          <p:cNvPicPr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35320" y="1947403"/>
            <a:ext cx="658155" cy="115154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9" descr="ÐÐ¸Ð¾Ð»Ð¾Ð³Ð¸Ñ. ÐÐ½Ð¾Ð³Ð¾Ð¾Ð±ÑÐ°Ð·Ð¸Ðµ Ð¿Ð¾ÐºÑÑÑÐ¾ÑÐµÐ¼ÐµÐ½Ð½ÑÑ ÑÐ°ÑÑÐµÐ½Ð¸Ð¹. 6 ÐºÐ»Ð°ÑÑ. Ð£ÑÐµÐ±Ð½Ð¸Ðº. ÐÐÐ Ð¢ÐÐÐÐÐ¬"/>
          <p:cNvPicPr>
            <a:picLocks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27857" y="1947403"/>
            <a:ext cx="658155" cy="115154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7" descr="ÐÐ¸Ð¾Ð»Ð¾Ð³Ð¸Ñ. 5 ÐºÐ»Ð°ÑÑ. ÐÐ°ÐºÑÐµÑÐ¸Ð¸, Ð³ÑÐ¸Ð±Ñ, ÑÐ°ÑÑÐµÐ½Ð¸Ñ. Ð£ÑÐµÐ±Ð½Ð¸Ðº"/>
          <p:cNvPicPr>
            <a:picLocks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20397" y="1947403"/>
            <a:ext cx="658155" cy="115154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Rectangle 36"/>
          <p:cNvSpPr>
            <a:spLocks noChangeArrowheads="1"/>
          </p:cNvSpPr>
          <p:nvPr/>
        </p:nvSpPr>
        <p:spPr bwMode="auto">
          <a:xfrm>
            <a:off x="6156531" y="5721386"/>
            <a:ext cx="1979826" cy="331291"/>
          </a:xfrm>
          <a:prstGeom prst="rect">
            <a:avLst/>
          </a:prstGeom>
          <a:solidFill>
            <a:srgbClr val="D1E7F6"/>
          </a:solidFill>
          <a:ln w="9525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dirty="0"/>
              <a:t>Учебное пособие</a:t>
            </a:r>
          </a:p>
        </p:txBody>
      </p:sp>
      <p:grpSp>
        <p:nvGrpSpPr>
          <p:cNvPr id="3" name="Group 56"/>
          <p:cNvGrpSpPr>
            <a:grpSpLocks/>
          </p:cNvGrpSpPr>
          <p:nvPr/>
        </p:nvGrpSpPr>
        <p:grpSpPr bwMode="auto">
          <a:xfrm>
            <a:off x="7496548" y="3832249"/>
            <a:ext cx="245237" cy="581025"/>
            <a:chOff x="5155" y="2533"/>
            <a:chExt cx="206" cy="366"/>
          </a:xfrm>
        </p:grpSpPr>
        <p:pic>
          <p:nvPicPr>
            <p:cNvPr id="18509" name="Picture 58"/>
            <p:cNvPicPr>
              <a:picLocks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5155" y="2533"/>
              <a:ext cx="206" cy="206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sp>
          <p:nvSpPr>
            <p:cNvPr id="18508" name="Text Box 60"/>
            <p:cNvSpPr txBox="1">
              <a:spLocks noChangeArrowheads="1"/>
            </p:cNvSpPr>
            <p:nvPr/>
          </p:nvSpPr>
          <p:spPr bwMode="auto">
            <a:xfrm>
              <a:off x="5211" y="2542"/>
              <a:ext cx="70" cy="357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square" lIns="0" tIns="12240" rIns="0" bIns="0">
              <a:spAutoFit/>
            </a:bodyPr>
            <a:lstStyle/>
            <a:p>
              <a:pPr marL="12700">
                <a:spcBef>
                  <a:spcPts val="100"/>
                </a:spcBef>
                <a:buClrTx/>
                <a:buFontTx/>
                <a:buNone/>
                <a:tabLst>
                  <a:tab pos="12700" algn="l"/>
                  <a:tab pos="927100" algn="l"/>
                  <a:tab pos="1841500" algn="l"/>
                  <a:tab pos="2755900" algn="l"/>
                  <a:tab pos="3670300" algn="l"/>
                  <a:tab pos="4584700" algn="l"/>
                  <a:tab pos="5499100" algn="l"/>
                  <a:tab pos="6413500" algn="l"/>
                  <a:tab pos="7327900" algn="l"/>
                  <a:tab pos="8242300" algn="l"/>
                  <a:tab pos="9156700" algn="l"/>
                  <a:tab pos="10071100" algn="l"/>
                </a:tabLst>
              </a:pPr>
              <a:r>
                <a:rPr lang="ru-RU" b="1" dirty="0">
                  <a:solidFill>
                    <a:srgbClr val="2D3494"/>
                  </a:solidFill>
                  <a:latin typeface="Calibri" pitchFamily="34" charset="0"/>
                </a:rPr>
                <a:t>Б</a:t>
              </a:r>
              <a:r>
                <a:rPr lang="ru-RU" dirty="0">
                  <a:solidFill>
                    <a:srgbClr val="2D3494"/>
                  </a:solidFill>
                  <a:latin typeface="Calibri" pitchFamily="34" charset="0"/>
                </a:rPr>
                <a:t> </a:t>
              </a:r>
            </a:p>
          </p:txBody>
        </p:sp>
      </p:grpSp>
      <p:grpSp>
        <p:nvGrpSpPr>
          <p:cNvPr id="5" name="Group 56"/>
          <p:cNvGrpSpPr>
            <a:grpSpLocks/>
          </p:cNvGrpSpPr>
          <p:nvPr/>
        </p:nvGrpSpPr>
        <p:grpSpPr bwMode="auto">
          <a:xfrm>
            <a:off x="3932868" y="3817775"/>
            <a:ext cx="245237" cy="581025"/>
            <a:chOff x="5155" y="2533"/>
            <a:chExt cx="206" cy="366"/>
          </a:xfrm>
        </p:grpSpPr>
        <p:pic>
          <p:nvPicPr>
            <p:cNvPr id="85" name="Picture 58"/>
            <p:cNvPicPr>
              <a:picLocks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5155" y="2533"/>
              <a:ext cx="206" cy="206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sp>
          <p:nvSpPr>
            <p:cNvPr id="86" name="Text Box 60"/>
            <p:cNvSpPr txBox="1">
              <a:spLocks noChangeArrowheads="1"/>
            </p:cNvSpPr>
            <p:nvPr/>
          </p:nvSpPr>
          <p:spPr bwMode="auto">
            <a:xfrm>
              <a:off x="5211" y="2542"/>
              <a:ext cx="70" cy="357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square" lIns="0" tIns="12240" rIns="0" bIns="0">
              <a:spAutoFit/>
            </a:bodyPr>
            <a:lstStyle/>
            <a:p>
              <a:pPr marL="12700">
                <a:spcBef>
                  <a:spcPts val="100"/>
                </a:spcBef>
                <a:buClrTx/>
                <a:buFontTx/>
                <a:buNone/>
                <a:tabLst>
                  <a:tab pos="12700" algn="l"/>
                  <a:tab pos="927100" algn="l"/>
                  <a:tab pos="1841500" algn="l"/>
                  <a:tab pos="2755900" algn="l"/>
                  <a:tab pos="3670300" algn="l"/>
                  <a:tab pos="4584700" algn="l"/>
                  <a:tab pos="5499100" algn="l"/>
                  <a:tab pos="6413500" algn="l"/>
                  <a:tab pos="7327900" algn="l"/>
                  <a:tab pos="8242300" algn="l"/>
                  <a:tab pos="9156700" algn="l"/>
                  <a:tab pos="10071100" algn="l"/>
                </a:tabLst>
              </a:pPr>
              <a:r>
                <a:rPr lang="ru-RU" b="1" dirty="0">
                  <a:solidFill>
                    <a:srgbClr val="2D3494"/>
                  </a:solidFill>
                  <a:latin typeface="Calibri" pitchFamily="34" charset="0"/>
                </a:rPr>
                <a:t>Б</a:t>
              </a:r>
              <a:r>
                <a:rPr lang="ru-RU" dirty="0">
                  <a:solidFill>
                    <a:srgbClr val="2D3494"/>
                  </a:solidFill>
                  <a:latin typeface="Calibri" pitchFamily="34" charset="0"/>
                </a:rPr>
                <a:t> </a:t>
              </a:r>
            </a:p>
          </p:txBody>
        </p:sp>
      </p:grpSp>
      <p:pic>
        <p:nvPicPr>
          <p:cNvPr id="43" name="Рисунок 42"/>
          <p:cNvPicPr>
            <a:picLocks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2115671" y="4132730"/>
            <a:ext cx="1093694" cy="1344706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549916676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p:oleObj spid="_x0000_s503810" name="think-cell Slide" r:id="rId5" imgW="360" imgH="360" progId="">
              <p:embed/>
            </p:oleObj>
          </a:graphicData>
        </a:graphic>
      </p:graphicFrame>
      <p:sp>
        <p:nvSpPr>
          <p:cNvPr id="9" name="Прямоугольник 8" hidden="1"/>
          <p:cNvSpPr/>
          <p:nvPr>
            <p:custDataLst>
              <p:tags r:id="rId2"/>
            </p:custDataLst>
          </p:nvPr>
        </p:nvSpPr>
        <p:spPr>
          <a:xfrm>
            <a:off x="8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8434" name="Picture 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192" y="1606"/>
            <a:ext cx="1190" cy="15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8435" name="Rectangle 2" hidden="1"/>
          <p:cNvSpPr>
            <a:spLocks noChangeArrowheads="1"/>
          </p:cNvSpPr>
          <p:nvPr/>
        </p:nvSpPr>
        <p:spPr bwMode="auto">
          <a:xfrm>
            <a:off x="8" y="0"/>
            <a:ext cx="119047" cy="158750"/>
          </a:xfrm>
          <a:prstGeom prst="rect">
            <a:avLst/>
          </a:prstGeom>
          <a:solidFill>
            <a:srgbClr val="A3CEED"/>
          </a:solidFill>
          <a:ln w="9360" cap="sq">
            <a:solidFill>
              <a:srgbClr val="A3CEED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8442" name="Text Box 9"/>
          <p:cNvSpPr txBox="1">
            <a:spLocks noChangeArrowheads="1"/>
          </p:cNvSpPr>
          <p:nvPr/>
        </p:nvSpPr>
        <p:spPr bwMode="auto">
          <a:xfrm>
            <a:off x="212532" y="2187893"/>
            <a:ext cx="1176185" cy="4302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rgbClr val="2D3494"/>
                </a:solidFill>
              </a:rPr>
              <a:t>ОСНОВНОЕ</a:t>
            </a:r>
          </a:p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rgbClr val="2D3494"/>
                </a:solidFill>
              </a:rPr>
              <a:t>ОБЩЕЕ</a:t>
            </a:r>
          </a:p>
        </p:txBody>
      </p:sp>
      <p:sp>
        <p:nvSpPr>
          <p:cNvPr id="18443" name="Text Box 10"/>
          <p:cNvSpPr txBox="1">
            <a:spLocks noChangeArrowheads="1"/>
          </p:cNvSpPr>
          <p:nvPr/>
        </p:nvSpPr>
        <p:spPr bwMode="auto">
          <a:xfrm>
            <a:off x="212532" y="4495030"/>
            <a:ext cx="926183" cy="6461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400" b="1" dirty="0">
                <a:solidFill>
                  <a:srgbClr val="2D3494"/>
                </a:solidFill>
              </a:rPr>
              <a:t> СРЕДНЕЕ</a:t>
            </a:r>
          </a:p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400" b="1" dirty="0">
                <a:solidFill>
                  <a:srgbClr val="2D3494"/>
                </a:solidFill>
              </a:rPr>
              <a:t> (ПОЛНОЕ)</a:t>
            </a:r>
          </a:p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400" b="1" dirty="0">
                <a:solidFill>
                  <a:srgbClr val="2D3494"/>
                </a:solidFill>
              </a:rPr>
              <a:t> ОБЩЕЕ</a:t>
            </a:r>
          </a:p>
        </p:txBody>
      </p:sp>
      <p:sp>
        <p:nvSpPr>
          <p:cNvPr id="18445" name="Line 12"/>
          <p:cNvSpPr>
            <a:spLocks noChangeShapeType="1"/>
          </p:cNvSpPr>
          <p:nvPr/>
        </p:nvSpPr>
        <p:spPr bwMode="auto">
          <a:xfrm flipH="1">
            <a:off x="104769" y="3741064"/>
            <a:ext cx="8426147" cy="1588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46" name="Line 13"/>
          <p:cNvSpPr>
            <a:spLocks noChangeShapeType="1"/>
          </p:cNvSpPr>
          <p:nvPr/>
        </p:nvSpPr>
        <p:spPr bwMode="auto">
          <a:xfrm flipV="1">
            <a:off x="5093609" y="1054901"/>
            <a:ext cx="0" cy="2697331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47" name="Line 14"/>
          <p:cNvSpPr>
            <a:spLocks noChangeShapeType="1"/>
          </p:cNvSpPr>
          <p:nvPr/>
        </p:nvSpPr>
        <p:spPr bwMode="auto">
          <a:xfrm flipH="1">
            <a:off x="104769" y="1670050"/>
            <a:ext cx="8426147" cy="1588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48" name="Line 15"/>
          <p:cNvSpPr>
            <a:spLocks noChangeShapeType="1"/>
          </p:cNvSpPr>
          <p:nvPr/>
        </p:nvSpPr>
        <p:spPr bwMode="auto">
          <a:xfrm flipV="1">
            <a:off x="1182644" y="1112277"/>
            <a:ext cx="1191" cy="5219700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3276128" y="5694049"/>
            <a:ext cx="1479831" cy="556181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chemeClr val="lt1"/>
                </a:solidFill>
                <a:latin typeface="Calibri" panose="020F0502020204030204" pitchFamily="34" charset="0"/>
              </a:rPr>
              <a:t>ФП </a:t>
            </a:r>
            <a:r>
              <a:rPr lang="ru-RU" sz="1400" b="1" dirty="0">
                <a:solidFill>
                  <a:schemeClr val="bg1"/>
                </a:solidFill>
                <a:latin typeface="Calibri" panose="020F0502020204030204" pitchFamily="34" charset="0"/>
              </a:rPr>
              <a:t>№ 1.3.5.6.6.1 , 1.3.5.6.6.2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КУЩИЙ ПОРТФЕЛЬ КОРПОРАЦИИ «РОССИЙСКИЙ УЧЕБНИК» </a:t>
            </a:r>
            <a:br>
              <a:rPr lang="ru-RU" dirty="0"/>
            </a:br>
            <a:r>
              <a:rPr lang="ru-RU" dirty="0">
                <a:solidFill>
                  <a:srgbClr val="EB2049"/>
                </a:solidFill>
              </a:rPr>
              <a:t>ПО БИОЛОГИИ, ДОСТУПНЫЙ ДЛЯ </a:t>
            </a:r>
            <a:r>
              <a:rPr lang="ru-RU" dirty="0" smtClean="0">
                <a:solidFill>
                  <a:srgbClr val="EB2049"/>
                </a:solidFill>
              </a:rPr>
              <a:t>ЗАКУПКИ</a:t>
            </a:r>
            <a:endParaRPr lang="ru-RU" dirty="0">
              <a:solidFill>
                <a:srgbClr val="EB2049"/>
              </a:solidFill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1826825" y="1036607"/>
            <a:ext cx="2718289" cy="6787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Линия УМК 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Н.И.</a:t>
            </a:r>
            <a:r>
              <a:rPr lang="en-US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Сонина</a:t>
            </a:r>
            <a:endParaRPr lang="ru-RU" sz="1600" b="1" dirty="0">
              <a:solidFill>
                <a:schemeClr val="tx1">
                  <a:lumMod val="90000"/>
                  <a:lumOff val="10000"/>
                </a:schemeClr>
              </a:solidFill>
              <a:latin typeface="Calibri" panose="020F0502020204030204" pitchFamily="34" charset="0"/>
            </a:endParaRPr>
          </a:p>
          <a:p>
            <a:pPr algn="ctr"/>
            <a:r>
              <a:rPr lang="ru-RU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(концентрическая, 5-9 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класс</a:t>
            </a:r>
            <a:r>
              <a:rPr lang="ru-RU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5876313" y="1036607"/>
            <a:ext cx="2343815" cy="6787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Линия УМК Н.И. Сонина</a:t>
            </a:r>
          </a:p>
          <a:p>
            <a:pPr algn="ctr"/>
            <a:r>
              <a:rPr lang="ru-RU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(линейная, 5-9 класс)</a:t>
            </a:r>
          </a:p>
        </p:txBody>
      </p:sp>
      <p:pic>
        <p:nvPicPr>
          <p:cNvPr id="80" name="Picture 14" descr="ÐÐ¸Ð¾Ð»Ð¾Ð³Ð¸Ñ. ÐÐ±ÑÐ¸Ðµ Ð·Ð°ÐºÐ¾Ð½Ð¾Ð¼ÐµÑÐ½Ð¾ÑÑÐ¸. 9 ÐºÐ»Ð°ÑÑ. Ð£ÑÐµÐ±Ð½Ð¸Ðº. (ÐÑÐ°ÑÐ½ÑÐ¹) ÐÐÐ Ð¢ÐÐÐÐÐ¬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83620" y="1849911"/>
            <a:ext cx="657580" cy="123617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17" descr="ÐÐ¸Ð¾Ð»Ð¾Ð³Ð¸Ñ. 8 ÐºÐ»Ð°ÑÑ. Ð£ÑÐµÐ±Ð½Ð¸Ðº (ÐÑÐ°ÑÐ½ÑÐ¹). ÐÐÐ Ð¢ÐÐÐÐÐ¬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51667" y="1850672"/>
            <a:ext cx="657580" cy="123617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9" descr="ÐÐ¸Ð¾Ð»Ð¾Ð³Ð¸Ñ. 7 ÐºÐ»Ð°ÑÑ. ÐÐ½Ð¾Ð³Ð¾Ð¾Ð±ÑÐ°Ð·Ð¸Ðµ Ð¶Ð¸Ð²ÑÑ Ð¾ÑÐ³Ð°Ð½Ð¸Ð·Ð¼Ð¾Ð². Ð£ÑÐµÐ±Ð½Ð¸Ðº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19716" y="1850672"/>
            <a:ext cx="657580" cy="123617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21" descr="ÐÐ¸Ð¾Ð»Ð¾Ð³Ð¸Ñ. 6 ÐºÐ». ÐÐ¸Ð²Ð¾Ð¹ Ð¾ÑÐ³Ð°Ð½Ð¸Ð·Ð¼. Ð£ÑÐµÐ±Ð½Ð¸Ðº (ÐÑÐ°ÑÐ½ÑÐ¹). ÐÐÐ Ð¢ÐÐÐÐÐ¬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87764" y="1850672"/>
            <a:ext cx="657580" cy="123617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23" descr="ÐÐ¸Ð¾Ð»Ð¾Ð³Ð¸Ñ. ÐÐ²ÐµÐ´ÐµÐ½Ð¸Ðµ Ð² Ð±Ð¸Ð¾Ð»Ð¾Ð³Ð¸Ñ. 5 ÐºÐ»Ð°ÑÑ. Ð£ÑÐµÐ±Ð½Ð¸Ðº. (ÐÑÐ°ÑÐ½ÑÐ¹). ÐÐÐ Ð¢ÐÐÐÐÐ¬"/>
          <p:cNvPicPr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55811" y="1849911"/>
            <a:ext cx="657580" cy="123617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Rectangle 36"/>
          <p:cNvSpPr>
            <a:spLocks noChangeArrowheads="1"/>
          </p:cNvSpPr>
          <p:nvPr/>
        </p:nvSpPr>
        <p:spPr bwMode="auto">
          <a:xfrm>
            <a:off x="1690049" y="3240584"/>
            <a:ext cx="2771841" cy="333375"/>
          </a:xfrm>
          <a:prstGeom prst="rect">
            <a:avLst/>
          </a:prstGeom>
          <a:solidFill>
            <a:srgbClr val="D1E7F6"/>
          </a:solidFill>
          <a:ln w="9525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dirty="0"/>
              <a:t>Учебные пособия</a:t>
            </a:r>
          </a:p>
        </p:txBody>
      </p:sp>
      <p:pic>
        <p:nvPicPr>
          <p:cNvPr id="92" name="Picture 25" descr="ÐÐ¸Ð¾Ð»Ð¾Ð³Ð¸Ñ. 9 ÐºÐ»Ð°ÑÑ. Ð§ÐµÐ»Ð¾Ð²ÐµÐº. Ð£ÑÐµÐ±Ð½Ð¸Ðº (Ð¡Ð¸Ð½Ð¸Ð¹). ÐÐÐ Ð¢ÐÐÐÐÐ¬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94495" y="1852233"/>
            <a:ext cx="648716" cy="12348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23" descr="ÐÐ¸Ð¾Ð»Ð¾Ð³Ð¸Ñ. 8 ÐºÐ»Ð°ÑÑ. ÐÐ½Ð¾Ð³Ð¾Ð¾Ð±ÑÐ°Ð·Ð¸Ðµ Ð¶Ð¸Ð²ÑÑ Ð¾ÑÐ³Ð°Ð½Ð¸Ð·Ð¼Ð¾Ð². ÐÐ¸Ð²Ð¾ÑÐ½ÑÐµ. Ð£ÑÐµÐ±Ð½Ð¸Ðº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73354" y="1852234"/>
            <a:ext cx="657586" cy="12348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21" descr="ÐÐ¸Ð¾Ð»Ð¾Ð³Ð¸Ñ. 7 ÐºÐ»Ð°ÑÑ. ÐÐ°ÐºÑÐµÑÐ¸Ð¸, Ð³ÑÐ¸Ð±Ñ, ÑÐ°ÑÑÐµÐ½Ð¸Ñ. Ð£ÑÐµÐ±Ð½Ð¸Ðº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52214" y="1852233"/>
            <a:ext cx="657586" cy="12348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19" descr="ÐÐ¸Ð¾Ð»Ð¾Ð³Ð¸Ñ. 6 ÐºÐ»Ð°ÑÑ. ÐÐ¸Ð²Ð¾Ð¹ Ð¾ÑÐ³Ð°Ð½Ð¸Ð·Ð¼. Ð£ÑÐµÐ±Ð½Ð¸Ðº (Ð¡Ð¸Ð½Ð¸Ð¹). ÐÐÐ Ð¢ÐÐÐÐÐ¬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31071" y="1852234"/>
            <a:ext cx="657586" cy="12348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17" descr="ÐÐ¸Ð¾Ð»Ð¾Ð³Ð¸Ñ. ÐÐ²ÐµÐ´ÐµÐ½Ð¸Ðµ Ð² Ð±Ð¸Ð¾Ð»Ð¾Ð³Ð¸Ñ. 5 ÐºÐ»Ð°ÑÑ. (Ð¡Ð¸Ð½Ð¸Ð¹). ÐÐÐ Ð¢ÐÐÐÐÐ¬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09928" y="1852233"/>
            <a:ext cx="657586" cy="12348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7" name="Rectangle 36"/>
          <p:cNvSpPr>
            <a:spLocks noChangeArrowheads="1"/>
          </p:cNvSpPr>
          <p:nvPr/>
        </p:nvSpPr>
        <p:spPr bwMode="auto">
          <a:xfrm>
            <a:off x="5683595" y="3240583"/>
            <a:ext cx="2771841" cy="333375"/>
          </a:xfrm>
          <a:prstGeom prst="rect">
            <a:avLst/>
          </a:prstGeom>
          <a:solidFill>
            <a:srgbClr val="D1E7F6"/>
          </a:solidFill>
          <a:ln w="9525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dirty="0"/>
              <a:t>Учебные пособия</a:t>
            </a:r>
          </a:p>
        </p:txBody>
      </p:sp>
      <p:pic>
        <p:nvPicPr>
          <p:cNvPr id="98" name="Рисунок 97"/>
          <p:cNvPicPr>
            <a:picLocks/>
          </p:cNvPicPr>
          <p:nvPr/>
        </p:nvPicPr>
        <p:blipFill rotWithShape="1">
          <a:blip r:embed="rId17" cstate="print"/>
          <a:srcRect l="2357" t="718"/>
          <a:stretch/>
        </p:blipFill>
        <p:spPr>
          <a:xfrm>
            <a:off x="6544235" y="4181431"/>
            <a:ext cx="950259" cy="1331879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9" name="Рисунок 98"/>
          <p:cNvPicPr>
            <a:picLocks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3558996" y="4177554"/>
            <a:ext cx="995083" cy="1326776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0" name="Рисунок 99"/>
          <p:cNvPicPr>
            <a:picLocks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2402541" y="4153357"/>
            <a:ext cx="1057836" cy="1377866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1" name="Рисунок 100"/>
          <p:cNvPicPr>
            <a:picLocks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5360894" y="4226254"/>
            <a:ext cx="1078062" cy="1313949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3" name="Group 56"/>
          <p:cNvGrpSpPr>
            <a:grpSpLocks/>
          </p:cNvGrpSpPr>
          <p:nvPr/>
        </p:nvGrpSpPr>
        <p:grpSpPr bwMode="auto">
          <a:xfrm>
            <a:off x="4666441" y="3853945"/>
            <a:ext cx="245237" cy="581025"/>
            <a:chOff x="5155" y="2533"/>
            <a:chExt cx="206" cy="366"/>
          </a:xfrm>
        </p:grpSpPr>
        <p:pic>
          <p:nvPicPr>
            <p:cNvPr id="85" name="Picture 58"/>
            <p:cNvPicPr>
              <a:picLocks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5155" y="2533"/>
              <a:ext cx="206" cy="206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sp>
          <p:nvSpPr>
            <p:cNvPr id="86" name="Text Box 60"/>
            <p:cNvSpPr txBox="1">
              <a:spLocks noChangeArrowheads="1"/>
            </p:cNvSpPr>
            <p:nvPr/>
          </p:nvSpPr>
          <p:spPr bwMode="auto">
            <a:xfrm>
              <a:off x="5211" y="2542"/>
              <a:ext cx="70" cy="357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square" lIns="0" tIns="12240" rIns="0" bIns="0">
              <a:spAutoFit/>
            </a:bodyPr>
            <a:lstStyle/>
            <a:p>
              <a:pPr marL="12700">
                <a:spcBef>
                  <a:spcPts val="100"/>
                </a:spcBef>
                <a:buClrTx/>
                <a:buFontTx/>
                <a:buNone/>
                <a:tabLst>
                  <a:tab pos="12700" algn="l"/>
                  <a:tab pos="927100" algn="l"/>
                  <a:tab pos="1841500" algn="l"/>
                  <a:tab pos="2755900" algn="l"/>
                  <a:tab pos="3670300" algn="l"/>
                  <a:tab pos="4584700" algn="l"/>
                  <a:tab pos="5499100" algn="l"/>
                  <a:tab pos="6413500" algn="l"/>
                  <a:tab pos="7327900" algn="l"/>
                  <a:tab pos="8242300" algn="l"/>
                  <a:tab pos="9156700" algn="l"/>
                  <a:tab pos="10071100" algn="l"/>
                </a:tabLst>
              </a:pPr>
              <a:r>
                <a:rPr lang="ru-RU" b="1" dirty="0">
                  <a:solidFill>
                    <a:srgbClr val="2D3494"/>
                  </a:solidFill>
                  <a:latin typeface="Calibri" pitchFamily="34" charset="0"/>
                </a:rPr>
                <a:t>Б</a:t>
              </a:r>
              <a:r>
                <a:rPr lang="ru-RU" dirty="0">
                  <a:solidFill>
                    <a:srgbClr val="2D3494"/>
                  </a:solidFill>
                  <a:latin typeface="Calibri" pitchFamily="34" charset="0"/>
                </a:rPr>
                <a:t> </a:t>
              </a:r>
            </a:p>
          </p:txBody>
        </p:sp>
      </p:grpSp>
      <p:grpSp>
        <p:nvGrpSpPr>
          <p:cNvPr id="4" name="Group 76"/>
          <p:cNvGrpSpPr>
            <a:grpSpLocks/>
          </p:cNvGrpSpPr>
          <p:nvPr/>
        </p:nvGrpSpPr>
        <p:grpSpPr bwMode="auto">
          <a:xfrm>
            <a:off x="6827586" y="3858174"/>
            <a:ext cx="245237" cy="595314"/>
            <a:chOff x="6509" y="2548"/>
            <a:chExt cx="206" cy="375"/>
          </a:xfrm>
        </p:grpSpPr>
        <p:pic>
          <p:nvPicPr>
            <p:cNvPr id="88" name="Picture 78"/>
            <p:cNvPicPr>
              <a:picLocks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6509" y="2548"/>
              <a:ext cx="206" cy="206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sp>
          <p:nvSpPr>
            <p:cNvPr id="89" name="Text Box 80"/>
            <p:cNvSpPr txBox="1">
              <a:spLocks noChangeArrowheads="1"/>
            </p:cNvSpPr>
            <p:nvPr/>
          </p:nvSpPr>
          <p:spPr bwMode="auto">
            <a:xfrm>
              <a:off x="6573" y="2566"/>
              <a:ext cx="69" cy="357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square" lIns="0" tIns="12240" rIns="0" bIns="0">
              <a:spAutoFit/>
            </a:bodyPr>
            <a:lstStyle/>
            <a:p>
              <a:pPr marL="12700">
                <a:spcBef>
                  <a:spcPts val="100"/>
                </a:spcBef>
                <a:buClrTx/>
                <a:buFontTx/>
                <a:buNone/>
                <a:tabLst>
                  <a:tab pos="12700" algn="l"/>
                  <a:tab pos="927100" algn="l"/>
                  <a:tab pos="1841500" algn="l"/>
                  <a:tab pos="2755900" algn="l"/>
                  <a:tab pos="3670300" algn="l"/>
                  <a:tab pos="4584700" algn="l"/>
                  <a:tab pos="5499100" algn="l"/>
                  <a:tab pos="6413500" algn="l"/>
                  <a:tab pos="7327900" algn="l"/>
                  <a:tab pos="8242300" algn="l"/>
                  <a:tab pos="9156700" algn="l"/>
                  <a:tab pos="10071100" algn="l"/>
                </a:tabLst>
              </a:pPr>
              <a:r>
                <a:rPr lang="ru-RU" b="1" dirty="0">
                  <a:solidFill>
                    <a:srgbClr val="2D3494"/>
                  </a:solidFill>
                  <a:latin typeface="Calibri" pitchFamily="34" charset="0"/>
                </a:rPr>
                <a:t>У</a:t>
              </a:r>
              <a:r>
                <a:rPr lang="ru-RU" dirty="0">
                  <a:solidFill>
                    <a:srgbClr val="2D3494"/>
                  </a:solidFill>
                  <a:latin typeface="Calibri" pitchFamily="34" charset="0"/>
                </a:rPr>
                <a:t> </a:t>
              </a:r>
            </a:p>
          </p:txBody>
        </p:sp>
      </p:grpSp>
      <p:sp>
        <p:nvSpPr>
          <p:cNvPr id="102" name="Rectangle 36"/>
          <p:cNvSpPr>
            <a:spLocks noChangeArrowheads="1"/>
          </p:cNvSpPr>
          <p:nvPr/>
        </p:nvSpPr>
        <p:spPr bwMode="auto">
          <a:xfrm>
            <a:off x="5458730" y="5694049"/>
            <a:ext cx="1550047" cy="333375"/>
          </a:xfrm>
          <a:prstGeom prst="rect">
            <a:avLst/>
          </a:prstGeom>
          <a:solidFill>
            <a:srgbClr val="D1E7F6"/>
          </a:solidFill>
          <a:ln w="9525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dirty="0"/>
              <a:t>Учебные пособия</a:t>
            </a:r>
          </a:p>
        </p:txBody>
      </p:sp>
      <p:sp>
        <p:nvSpPr>
          <p:cNvPr id="103" name="Rectangle 4"/>
          <p:cNvSpPr>
            <a:spLocks noChangeArrowheads="1"/>
          </p:cNvSpPr>
          <p:nvPr/>
        </p:nvSpPr>
        <p:spPr bwMode="auto">
          <a:xfrm>
            <a:off x="1877381" y="6461125"/>
            <a:ext cx="630949" cy="215900"/>
          </a:xfrm>
          <a:prstGeom prst="rect">
            <a:avLst/>
          </a:prstGeom>
          <a:solidFill>
            <a:srgbClr val="2D3494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04" name="Rectangle 5"/>
          <p:cNvSpPr>
            <a:spLocks noChangeArrowheads="1"/>
          </p:cNvSpPr>
          <p:nvPr/>
        </p:nvSpPr>
        <p:spPr bwMode="auto">
          <a:xfrm>
            <a:off x="2567853" y="6373804"/>
            <a:ext cx="855947" cy="3715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900" dirty="0">
                <a:solidFill>
                  <a:srgbClr val="525252"/>
                </a:solidFill>
                <a:latin typeface="Calibri" pitchFamily="34" charset="0"/>
              </a:rPr>
              <a:t>Учебники ФП 2018</a:t>
            </a:r>
          </a:p>
        </p:txBody>
      </p:sp>
      <p:sp>
        <p:nvSpPr>
          <p:cNvPr id="105" name="Rectangle 7"/>
          <p:cNvSpPr>
            <a:spLocks noChangeArrowheads="1"/>
          </p:cNvSpPr>
          <p:nvPr/>
        </p:nvSpPr>
        <p:spPr bwMode="auto">
          <a:xfrm>
            <a:off x="179762" y="6446838"/>
            <a:ext cx="632139" cy="215900"/>
          </a:xfrm>
          <a:prstGeom prst="rect">
            <a:avLst/>
          </a:prstGeom>
          <a:solidFill>
            <a:srgbClr val="D1E7F6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06" name="Прямоугольник 105"/>
          <p:cNvSpPr/>
          <p:nvPr/>
        </p:nvSpPr>
        <p:spPr>
          <a:xfrm>
            <a:off x="869609" y="6372432"/>
            <a:ext cx="939054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ики ФП 201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4</a:t>
            </a:r>
            <a:endParaRPr lang="ru-RU" sz="9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069051445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p:oleObj spid="_x0000_s504834" name="think-cell Slide" r:id="rId5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2"/>
            </p:custDataLst>
          </p:nvPr>
        </p:nvSpPr>
        <p:spPr>
          <a:xfrm>
            <a:off x="7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8434" name="Picture 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192" y="1604"/>
            <a:ext cx="1190" cy="15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8435" name="Rectangle 2" hidden="1"/>
          <p:cNvSpPr>
            <a:spLocks noChangeArrowheads="1"/>
          </p:cNvSpPr>
          <p:nvPr/>
        </p:nvSpPr>
        <p:spPr bwMode="auto">
          <a:xfrm>
            <a:off x="7" y="0"/>
            <a:ext cx="119047" cy="158750"/>
          </a:xfrm>
          <a:prstGeom prst="rect">
            <a:avLst/>
          </a:prstGeom>
          <a:solidFill>
            <a:srgbClr val="A3CEED"/>
          </a:solidFill>
          <a:ln w="9360" cap="sq">
            <a:solidFill>
              <a:srgbClr val="A3CEED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8445" name="Line 12"/>
          <p:cNvSpPr>
            <a:spLocks noChangeShapeType="1"/>
          </p:cNvSpPr>
          <p:nvPr/>
        </p:nvSpPr>
        <p:spPr bwMode="auto">
          <a:xfrm flipH="1">
            <a:off x="104768" y="3823335"/>
            <a:ext cx="8426147" cy="1588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47" name="Line 14"/>
          <p:cNvSpPr>
            <a:spLocks noChangeShapeType="1"/>
          </p:cNvSpPr>
          <p:nvPr/>
        </p:nvSpPr>
        <p:spPr bwMode="auto">
          <a:xfrm flipH="1">
            <a:off x="104768" y="1670050"/>
            <a:ext cx="8426147" cy="1588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8448" name="Line 15"/>
          <p:cNvSpPr>
            <a:spLocks noChangeShapeType="1"/>
          </p:cNvSpPr>
          <p:nvPr/>
        </p:nvSpPr>
        <p:spPr bwMode="auto">
          <a:xfrm flipV="1">
            <a:off x="1218503" y="1121242"/>
            <a:ext cx="1191" cy="5219700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5534065" y="4995520"/>
            <a:ext cx="1594424" cy="503194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chemeClr val="lt1"/>
                </a:solidFill>
                <a:latin typeface="Calibri" panose="020F0502020204030204" pitchFamily="34" charset="0"/>
              </a:rPr>
              <a:t>ФП № </a:t>
            </a:r>
            <a:r>
              <a:rPr lang="ru-RU" sz="1400" b="1" dirty="0">
                <a:solidFill>
                  <a:schemeClr val="bg1"/>
                </a:solidFill>
                <a:latin typeface="Calibri" panose="020F0502020204030204" pitchFamily="34" charset="0"/>
              </a:rPr>
              <a:t>1.3.5.6.1.1, </a:t>
            </a:r>
            <a:r>
              <a:rPr lang="ru-RU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.3.5.6.1.2</a:t>
            </a:r>
            <a:endParaRPr lang="ru-RU" sz="14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72" name="Рисунок 7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71606" y="1936376"/>
            <a:ext cx="1300649" cy="1796912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3" name="Рисунок 7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11381" y="1936376"/>
            <a:ext cx="1161379" cy="1803852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4" name="Прямоугольник 83"/>
          <p:cNvSpPr/>
          <p:nvPr/>
        </p:nvSpPr>
        <p:spPr>
          <a:xfrm>
            <a:off x="7407009" y="2409654"/>
            <a:ext cx="1428700" cy="710735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Calibri" panose="020F0502020204030204" pitchFamily="34" charset="0"/>
              </a:rPr>
              <a:t>ФП № 1.2.5.2.5.1 – 1.2.5.2.5.5 </a:t>
            </a:r>
          </a:p>
        </p:txBody>
      </p:sp>
      <p:pic>
        <p:nvPicPr>
          <p:cNvPr id="30" name="Рисунок 29" descr="cover1_7kl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945637" y="1945355"/>
            <a:ext cx="1137359" cy="1785843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1" name="Рисунок 30" descr="cover1_8kl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5127819" y="1963271"/>
            <a:ext cx="1084729" cy="1754078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Рисунок 31" descr="cover1_9kl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6275299" y="1963270"/>
            <a:ext cx="1057835" cy="1744870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3" name="Рисунок 32" descr="cover1_11kl.jp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3917577" y="4186531"/>
            <a:ext cx="1272988" cy="1833279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КУЩИЙ ПОРТФЕЛЬ КОРПОРАЦИИ «РОССИЙСКИЙ УЧЕБНИК» </a:t>
            </a:r>
            <a:br>
              <a:rPr lang="ru-RU" dirty="0"/>
            </a:br>
            <a:r>
              <a:rPr lang="ru-RU" dirty="0">
                <a:solidFill>
                  <a:srgbClr val="EB2049"/>
                </a:solidFill>
              </a:rPr>
              <a:t>ПО БИОЛОГИИ, ДОСТУПНЫЙ ДЛЯ </a:t>
            </a:r>
            <a:r>
              <a:rPr lang="ru-RU" dirty="0" smtClean="0">
                <a:solidFill>
                  <a:srgbClr val="EB2049"/>
                </a:solidFill>
              </a:rPr>
              <a:t>ЗАКУПКИ</a:t>
            </a:r>
            <a:endParaRPr lang="ru-RU" dirty="0">
              <a:solidFill>
                <a:srgbClr val="EB2049"/>
              </a:solidFill>
            </a:endParaRPr>
          </a:p>
        </p:txBody>
      </p:sp>
      <p:sp>
        <p:nvSpPr>
          <p:cNvPr id="35" name="Text Box 9"/>
          <p:cNvSpPr txBox="1">
            <a:spLocks noChangeArrowheads="1"/>
          </p:cNvSpPr>
          <p:nvPr/>
        </p:nvSpPr>
        <p:spPr bwMode="auto">
          <a:xfrm>
            <a:off x="212531" y="2187893"/>
            <a:ext cx="1176185" cy="4302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rgbClr val="2D3494"/>
                </a:solidFill>
              </a:rPr>
              <a:t>ОСНОВНОЕ</a:t>
            </a:r>
          </a:p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rgbClr val="2D3494"/>
                </a:solidFill>
              </a:rPr>
              <a:t>ОБЩЕЕ</a:t>
            </a:r>
          </a:p>
        </p:txBody>
      </p:sp>
      <p:sp>
        <p:nvSpPr>
          <p:cNvPr id="36" name="Text Box 10"/>
          <p:cNvSpPr txBox="1">
            <a:spLocks noChangeArrowheads="1"/>
          </p:cNvSpPr>
          <p:nvPr/>
        </p:nvSpPr>
        <p:spPr bwMode="auto">
          <a:xfrm>
            <a:off x="212531" y="4241028"/>
            <a:ext cx="926183" cy="6461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400" b="1" dirty="0">
                <a:solidFill>
                  <a:srgbClr val="2D3494"/>
                </a:solidFill>
              </a:rPr>
              <a:t> СРЕДНЕЕ</a:t>
            </a:r>
          </a:p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400" b="1" dirty="0">
                <a:solidFill>
                  <a:srgbClr val="2D3494"/>
                </a:solidFill>
              </a:rPr>
              <a:t> (ПОЛНОЕ)</a:t>
            </a:r>
          </a:p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400" b="1" dirty="0">
                <a:solidFill>
                  <a:srgbClr val="2D3494"/>
                </a:solidFill>
              </a:rPr>
              <a:t> ОБЩЕЕ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3003075" y="963305"/>
            <a:ext cx="3173608" cy="6787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Линия УМК В.И. </a:t>
            </a:r>
            <a:r>
              <a:rPr lang="ru-RU" b="1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Сивоглазова</a:t>
            </a:r>
            <a:endParaRPr lang="ru-RU" b="1" dirty="0">
              <a:solidFill>
                <a:schemeClr val="tx1">
                  <a:lumMod val="90000"/>
                  <a:lumOff val="10000"/>
                </a:schemeClr>
              </a:solidFill>
              <a:latin typeface="Calibri" panose="020F0502020204030204" pitchFamily="34" charset="0"/>
            </a:endParaRPr>
          </a:p>
          <a:p>
            <a:pPr algn="ctr"/>
            <a:r>
              <a:rPr lang="ru-RU" b="1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rPr>
              <a:t>(концентрическая)</a:t>
            </a:r>
          </a:p>
        </p:txBody>
      </p:sp>
      <p:grpSp>
        <p:nvGrpSpPr>
          <p:cNvPr id="5" name="Группа 49"/>
          <p:cNvGrpSpPr/>
          <p:nvPr/>
        </p:nvGrpSpPr>
        <p:grpSpPr>
          <a:xfrm>
            <a:off x="5184735" y="4005276"/>
            <a:ext cx="532991" cy="686437"/>
            <a:chOff x="3165173" y="932404"/>
            <a:chExt cx="874925" cy="845113"/>
          </a:xfrm>
        </p:grpSpPr>
        <p:sp>
          <p:nvSpPr>
            <p:cNvPr id="51" name="object 26"/>
            <p:cNvSpPr/>
            <p:nvPr/>
          </p:nvSpPr>
          <p:spPr>
            <a:xfrm>
              <a:off x="3165173" y="951958"/>
              <a:ext cx="874925" cy="493749"/>
            </a:xfrm>
            <a:custGeom>
              <a:avLst/>
              <a:gdLst/>
              <a:ahLst/>
              <a:cxnLst/>
              <a:rect l="l" t="t" r="r" b="b"/>
              <a:pathLst>
                <a:path w="576579" h="539750">
                  <a:moveTo>
                    <a:pt x="288163" y="0"/>
                  </a:moveTo>
                  <a:lnTo>
                    <a:pt x="241425" y="3530"/>
                  </a:lnTo>
                  <a:lnTo>
                    <a:pt x="197087" y="13753"/>
                  </a:lnTo>
                  <a:lnTo>
                    <a:pt x="155743" y="30113"/>
                  </a:lnTo>
                  <a:lnTo>
                    <a:pt x="117985" y="52055"/>
                  </a:lnTo>
                  <a:lnTo>
                    <a:pt x="84407" y="79025"/>
                  </a:lnTo>
                  <a:lnTo>
                    <a:pt x="55603" y="110468"/>
                  </a:lnTo>
                  <a:lnTo>
                    <a:pt x="32167" y="145829"/>
                  </a:lnTo>
                  <a:lnTo>
                    <a:pt x="14692" y="184554"/>
                  </a:lnTo>
                  <a:lnTo>
                    <a:pt x="3772" y="226087"/>
                  </a:lnTo>
                  <a:lnTo>
                    <a:pt x="0" y="269875"/>
                  </a:lnTo>
                  <a:lnTo>
                    <a:pt x="3772" y="313662"/>
                  </a:lnTo>
                  <a:lnTo>
                    <a:pt x="14692" y="355195"/>
                  </a:lnTo>
                  <a:lnTo>
                    <a:pt x="32167" y="393920"/>
                  </a:lnTo>
                  <a:lnTo>
                    <a:pt x="55603" y="429281"/>
                  </a:lnTo>
                  <a:lnTo>
                    <a:pt x="84407" y="460724"/>
                  </a:lnTo>
                  <a:lnTo>
                    <a:pt x="117985" y="487694"/>
                  </a:lnTo>
                  <a:lnTo>
                    <a:pt x="155743" y="509636"/>
                  </a:lnTo>
                  <a:lnTo>
                    <a:pt x="197087" y="525996"/>
                  </a:lnTo>
                  <a:lnTo>
                    <a:pt x="241425" y="536219"/>
                  </a:lnTo>
                  <a:lnTo>
                    <a:pt x="288163" y="539750"/>
                  </a:lnTo>
                  <a:lnTo>
                    <a:pt x="334900" y="536219"/>
                  </a:lnTo>
                  <a:lnTo>
                    <a:pt x="379238" y="525996"/>
                  </a:lnTo>
                  <a:lnTo>
                    <a:pt x="420582" y="509636"/>
                  </a:lnTo>
                  <a:lnTo>
                    <a:pt x="458340" y="487694"/>
                  </a:lnTo>
                  <a:lnTo>
                    <a:pt x="491918" y="460724"/>
                  </a:lnTo>
                  <a:lnTo>
                    <a:pt x="520722" y="429281"/>
                  </a:lnTo>
                  <a:lnTo>
                    <a:pt x="544158" y="393920"/>
                  </a:lnTo>
                  <a:lnTo>
                    <a:pt x="561633" y="355195"/>
                  </a:lnTo>
                  <a:lnTo>
                    <a:pt x="572553" y="313662"/>
                  </a:lnTo>
                  <a:lnTo>
                    <a:pt x="576326" y="269875"/>
                  </a:lnTo>
                  <a:lnTo>
                    <a:pt x="572553" y="226087"/>
                  </a:lnTo>
                  <a:lnTo>
                    <a:pt x="561633" y="184554"/>
                  </a:lnTo>
                  <a:lnTo>
                    <a:pt x="544158" y="145829"/>
                  </a:lnTo>
                  <a:lnTo>
                    <a:pt x="520722" y="110468"/>
                  </a:lnTo>
                  <a:lnTo>
                    <a:pt x="491918" y="79025"/>
                  </a:lnTo>
                  <a:lnTo>
                    <a:pt x="458340" y="52055"/>
                  </a:lnTo>
                  <a:lnTo>
                    <a:pt x="420582" y="30113"/>
                  </a:lnTo>
                  <a:lnTo>
                    <a:pt x="379238" y="13753"/>
                  </a:lnTo>
                  <a:lnTo>
                    <a:pt x="334900" y="3530"/>
                  </a:lnTo>
                  <a:lnTo>
                    <a:pt x="288163" y="0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2D3494"/>
              </a:solidFill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0" h="0"/>
            </a:sp3d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object 28"/>
            <p:cNvSpPr txBox="1"/>
            <p:nvPr/>
          </p:nvSpPr>
          <p:spPr>
            <a:xfrm>
              <a:off x="3319304" y="1004675"/>
              <a:ext cx="175127" cy="772842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-305" normalizeH="0" baseline="0" noProof="0" dirty="0">
                  <a:ln>
                    <a:noFill/>
                  </a:ln>
                  <a:solidFill>
                    <a:srgbClr val="2D3494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/>
                </a:rPr>
                <a:t>Б </a:t>
              </a:r>
              <a:endParaRPr kumimoji="0" sz="2000" b="1" i="0" u="none" strike="noStrike" kern="1200" cap="none" spc="-305" normalizeH="0" baseline="0" noProof="0" dirty="0">
                <a:ln>
                  <a:noFill/>
                </a:ln>
                <a:solidFill>
                  <a:srgbClr val="2D349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endParaRPr>
            </a:p>
          </p:txBody>
        </p:sp>
        <p:sp>
          <p:nvSpPr>
            <p:cNvPr id="53" name="object 28"/>
            <p:cNvSpPr txBox="1"/>
            <p:nvPr/>
          </p:nvSpPr>
          <p:spPr>
            <a:xfrm>
              <a:off x="3718922" y="1004675"/>
              <a:ext cx="175127" cy="393918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-305" normalizeH="0" baseline="0" noProof="0" dirty="0">
                  <a:ln>
                    <a:noFill/>
                  </a:ln>
                  <a:solidFill>
                    <a:srgbClr val="2D3494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/>
                </a:rPr>
                <a:t>У</a:t>
              </a:r>
              <a:endParaRPr kumimoji="0" sz="2000" b="1" i="0" u="none" strike="noStrike" kern="1200" cap="none" spc="0" normalizeH="0" baseline="0" noProof="0" dirty="0">
                <a:ln>
                  <a:noFill/>
                </a:ln>
                <a:solidFill>
                  <a:srgbClr val="2D349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</a:endParaRPr>
            </a:p>
          </p:txBody>
        </p:sp>
        <p:sp>
          <p:nvSpPr>
            <p:cNvPr id="54" name="object 28"/>
            <p:cNvSpPr txBox="1"/>
            <p:nvPr/>
          </p:nvSpPr>
          <p:spPr>
            <a:xfrm>
              <a:off x="3523977" y="932404"/>
              <a:ext cx="175127" cy="469704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9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-305" normalizeH="0" baseline="0" noProof="0" dirty="0">
                  <a:ln>
                    <a:noFill/>
                  </a:ln>
                  <a:solidFill>
                    <a:srgbClr val="2D3494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/>
                </a:rPr>
                <a:t>+</a:t>
              </a:r>
              <a:r>
                <a:rPr kumimoji="0" lang="ru-RU" sz="2400" b="0" i="0" u="none" strike="noStrike" kern="1200" cap="none" spc="-305" normalizeH="0" baseline="0" noProof="0" dirty="0">
                  <a:ln>
                    <a:noFill/>
                  </a:ln>
                  <a:solidFill>
                    <a:srgbClr val="2D3494"/>
                  </a:solidFill>
                  <a:effectLst/>
                  <a:uLnTx/>
                  <a:uFillTx/>
                  <a:latin typeface="Calibri"/>
                  <a:ea typeface="+mn-ea"/>
                  <a:cs typeface="Arial"/>
                </a:rPr>
                <a:t> </a:t>
              </a: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2D3494"/>
                </a:solidFill>
                <a:effectLst/>
                <a:uLnTx/>
                <a:uFillTx/>
                <a:latin typeface="Calibri"/>
                <a:ea typeface="+mn-ea"/>
                <a:cs typeface="Arial"/>
              </a:endParaRPr>
            </a:p>
          </p:txBody>
        </p:sp>
      </p:grpSp>
      <p:pic>
        <p:nvPicPr>
          <p:cNvPr id="74" name="Рисунок 7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465296" y="4222376"/>
            <a:ext cx="1272986" cy="1802758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p:oleObj spid="_x0000_s508930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0" y="2032987"/>
            <a:ext cx="9144000" cy="2376492"/>
          </a:xfrm>
          <a:prstGeom prst="rect">
            <a:avLst/>
          </a:prstGeom>
          <a:solidFill>
            <a:srgbClr val="D1E7F6"/>
          </a:solidFill>
          <a:ln w="9525">
            <a:solidFill>
              <a:srgbClr val="D1E7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036498" y="1703298"/>
            <a:ext cx="1168469" cy="1601759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Подзаголовок 3"/>
          <p:cNvSpPr txBox="1">
            <a:spLocks/>
          </p:cNvSpPr>
          <p:nvPr/>
        </p:nvSpPr>
        <p:spPr>
          <a:xfrm>
            <a:off x="3644965" y="4369958"/>
            <a:ext cx="2036834" cy="134035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2683C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Состав УМК:</a:t>
            </a:r>
          </a:p>
          <a:p>
            <a:pPr marL="17145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b="1" dirty="0">
                <a:latin typeface="Calibri" panose="020F0502020204030204" pitchFamily="34" charset="0"/>
              </a:rPr>
              <a:t>Электронное приложение на</a:t>
            </a:r>
            <a:r>
              <a:rPr lang="en-US" b="1" dirty="0">
                <a:latin typeface="Calibri" panose="020F0502020204030204" pitchFamily="34" charset="0"/>
              </a:rPr>
              <a:t> </a:t>
            </a:r>
            <a:r>
              <a:rPr lang="en-US" b="1" dirty="0">
                <a:solidFill>
                  <a:srgbClr val="FF0000"/>
                </a:solidFill>
                <a:latin typeface="Calibri" panose="020F0502020204030204" pitchFamily="34" charset="0"/>
              </a:rPr>
              <a:t>lecta.rosuchebnik.ru</a:t>
            </a:r>
            <a:r>
              <a:rPr lang="ru-RU" b="1" dirty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</a:p>
          <a:p>
            <a:pPr marL="171450" indent="-1714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181818"/>
                </a:solidFill>
                <a:cs typeface="Calibri" panose="020F0502020204030204" pitchFamily="34" charset="0"/>
              </a:rPr>
              <a:t>рабочие тетради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Calibri" panose="020F0502020204030204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2D34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методические пособия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2D34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рабочая программа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2D34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ЭФУ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2683C6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Подзаголовок 3"/>
          <p:cNvSpPr txBox="1">
            <a:spLocks/>
          </p:cNvSpPr>
          <p:nvPr/>
        </p:nvSpPr>
        <p:spPr>
          <a:xfrm>
            <a:off x="3582213" y="2233303"/>
            <a:ext cx="5308613" cy="2101275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2683C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Преимущества: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2D34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Простая и удобная система навигации связывает материал учебников с электронным приложением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2D34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Содержание позволяет выстроить индивидуальные образовательные маршруты, организовать самостоятельную деятельность, работать с учащимися любого уровня подготовки</a:t>
            </a:r>
          </a:p>
        </p:txBody>
      </p:sp>
      <p:sp>
        <p:nvSpPr>
          <p:cNvPr id="27" name="Подзаголовок 3"/>
          <p:cNvSpPr txBox="1">
            <a:spLocks/>
          </p:cNvSpPr>
          <p:nvPr/>
        </p:nvSpPr>
        <p:spPr>
          <a:xfrm>
            <a:off x="3523755" y="1700528"/>
            <a:ext cx="5367071" cy="422950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2683C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ИННОВАЦИОННЫЙ ИНТЕРАКТИВНЫЙ УЧЕБНИК ПО БИОЛОГИИ</a:t>
            </a:r>
          </a:p>
        </p:txBody>
      </p:sp>
      <p:grpSp>
        <p:nvGrpSpPr>
          <p:cNvPr id="6" name="Группа 33"/>
          <p:cNvGrpSpPr/>
          <p:nvPr/>
        </p:nvGrpSpPr>
        <p:grpSpPr>
          <a:xfrm>
            <a:off x="322731" y="5531224"/>
            <a:ext cx="277906" cy="358588"/>
            <a:chOff x="832043" y="1264362"/>
            <a:chExt cx="1022682" cy="1022682"/>
          </a:xfrm>
        </p:grpSpPr>
        <p:sp>
          <p:nvSpPr>
            <p:cNvPr id="35" name="Овал 34"/>
            <p:cNvSpPr/>
            <p:nvPr/>
          </p:nvSpPr>
          <p:spPr>
            <a:xfrm>
              <a:off x="832043" y="1264362"/>
              <a:ext cx="1022682" cy="1022682"/>
            </a:xfrm>
            <a:prstGeom prst="ellipse">
              <a:avLst/>
            </a:prstGeom>
            <a:noFill/>
            <a:ln w="28575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82038" y="1449255"/>
              <a:ext cx="689504" cy="685494"/>
            </a:xfrm>
            <a:prstGeom prst="rect">
              <a:avLst/>
            </a:prstGeom>
          </p:spPr>
        </p:pic>
      </p:grpSp>
      <p:sp>
        <p:nvSpPr>
          <p:cNvPr id="37" name="Подзаголовок 3"/>
          <p:cNvSpPr txBox="1">
            <a:spLocks/>
          </p:cNvSpPr>
          <p:nvPr/>
        </p:nvSpPr>
        <p:spPr>
          <a:xfrm>
            <a:off x="704202" y="5264826"/>
            <a:ext cx="2502497" cy="71001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2D349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Поможем оформить закупку учебников для вашей школы.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2D349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По всем вопросам пишите на почту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B204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les@rosuchebnik.ru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EB204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214440" y="2384615"/>
            <a:ext cx="1145234" cy="1569361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49080" y="2867836"/>
            <a:ext cx="1145234" cy="158762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61072" y="171001"/>
            <a:ext cx="5701732" cy="648642"/>
          </a:xfrm>
        </p:spPr>
        <p:txBody>
          <a:bodyPr/>
          <a:lstStyle/>
          <a:p>
            <a:r>
              <a:rPr lang="ru-RU" sz="2000" dirty="0"/>
              <a:t>ЛИНИЯ УМК СИВОГЛАЗОВА В.И. (5–11 КЛАССЫ)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6DD6535F-FB21-40C6-94B1-1B9F6CE4AD8F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307977" y="833900"/>
            <a:ext cx="5717356" cy="768163"/>
          </a:xfrm>
          <a:prstGeom prst="rect">
            <a:avLst/>
          </a:prstGeom>
        </p:spPr>
      </p:pic>
      <p:sp>
        <p:nvSpPr>
          <p:cNvPr id="18" name="Скругленный прямоугольник 17"/>
          <p:cNvSpPr/>
          <p:nvPr/>
        </p:nvSpPr>
        <p:spPr>
          <a:xfrm>
            <a:off x="722865" y="4752068"/>
            <a:ext cx="1858972" cy="418559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</a:rPr>
              <a:t>ФП 1.2.5.2.5.1 </a:t>
            </a:r>
            <a:r>
              <a:rPr lang="ru-RU" sz="1600" b="1" dirty="0">
                <a:solidFill>
                  <a:schemeClr val="bg2">
                    <a:lumMod val="75000"/>
                  </a:schemeClr>
                </a:solidFill>
              </a:rPr>
              <a:t>– 1.3.5.6.1.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61670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/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p:oleObj spid="_x0000_s507906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2906739" y="1415018"/>
            <a:ext cx="6113632" cy="4513766"/>
          </a:xfrm>
          <a:prstGeom prst="rect">
            <a:avLst/>
          </a:prstGeom>
          <a:solidFill>
            <a:srgbClr val="D1E7F6"/>
          </a:solidFill>
          <a:ln w="9525">
            <a:solidFill>
              <a:srgbClr val="D1E7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613713" y="1246094"/>
            <a:ext cx="1168469" cy="157568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3" name="Подзаголовок 3"/>
          <p:cNvSpPr txBox="1">
            <a:spLocks/>
          </p:cNvSpPr>
          <p:nvPr/>
        </p:nvSpPr>
        <p:spPr>
          <a:xfrm>
            <a:off x="2906740" y="1582902"/>
            <a:ext cx="5984087" cy="455754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Учебники создавались на основе линии Н.И. Сонина «Сфера жизни» (красная, концентрическая), поэтому по структуре, содержанию, художественному оформлению и методическому аппарату линия УМК В.И. </a:t>
            </a:r>
            <a:r>
              <a:rPr lang="ru-RU" sz="1400" dirty="0" err="1"/>
              <a:t>Сивоглазова</a:t>
            </a:r>
            <a:r>
              <a:rPr lang="ru-RU" sz="1400" dirty="0"/>
              <a:t> соответствует линии УМК Н.И. Сонина «Сфера жизни». </a:t>
            </a:r>
          </a:p>
          <a:p>
            <a:pPr marL="285750" indent="-2857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Основное отличие, а, по сути, существенное преимущество, особенно важное на современном этапе развития образования, - наполненность учебников ссылками на электронные ресурсы. Данные электронные ресурсы – это огромная информационная база, содержащая рисунки, фотографии, схемы, анимированные сюжеты, видеофрагменты, 3</a:t>
            </a:r>
            <a:r>
              <a:rPr lang="en-US" sz="1400" dirty="0"/>
              <a:t>D</a:t>
            </a:r>
            <a:r>
              <a:rPr lang="ru-RU" sz="1400" dirty="0"/>
              <a:t>-модели, виртуальные экскурсии, практические работы, интерактивные задания, тесты, кроссворды и другие объекты. </a:t>
            </a:r>
          </a:p>
          <a:p>
            <a:pPr marL="285750" indent="-2857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Наличие такой электронной базы позволяет выстраивать индивидуальные образовательные маршруты, работать с учащимися любого уровня подготовки. </a:t>
            </a:r>
          </a:p>
          <a:p>
            <a:pPr marL="285750" indent="-2857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FF0000"/>
                </a:solidFill>
              </a:rPr>
              <a:t>Электронная составляющая не является компонентом, обязательным для использования. Печатные учебники – это полная и достаточная версия курса биология, поэтому при отсутствии у пользователя возможности работать с электронным приложением никакой потери содержания не происходит.</a:t>
            </a:r>
          </a:p>
        </p:txBody>
      </p:sp>
      <p:grpSp>
        <p:nvGrpSpPr>
          <p:cNvPr id="6" name="Группа 33"/>
          <p:cNvGrpSpPr/>
          <p:nvPr/>
        </p:nvGrpSpPr>
        <p:grpSpPr>
          <a:xfrm>
            <a:off x="112576" y="5531224"/>
            <a:ext cx="192227" cy="188074"/>
            <a:chOff x="832043" y="1264362"/>
            <a:chExt cx="1022682" cy="1022682"/>
          </a:xfrm>
        </p:grpSpPr>
        <p:sp>
          <p:nvSpPr>
            <p:cNvPr id="35" name="Овал 34"/>
            <p:cNvSpPr/>
            <p:nvPr/>
          </p:nvSpPr>
          <p:spPr>
            <a:xfrm>
              <a:off x="832043" y="1264362"/>
              <a:ext cx="1022682" cy="1022682"/>
            </a:xfrm>
            <a:prstGeom prst="ellipse">
              <a:avLst/>
            </a:prstGeom>
            <a:noFill/>
            <a:ln w="28575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82038" y="1449256"/>
              <a:ext cx="689502" cy="685493"/>
            </a:xfrm>
            <a:prstGeom prst="rect">
              <a:avLst/>
            </a:prstGeom>
          </p:spPr>
        </p:pic>
      </p:grpSp>
      <p:sp>
        <p:nvSpPr>
          <p:cNvPr id="37" name="Подзаголовок 3"/>
          <p:cNvSpPr txBox="1">
            <a:spLocks/>
          </p:cNvSpPr>
          <p:nvPr/>
        </p:nvSpPr>
        <p:spPr>
          <a:xfrm>
            <a:off x="400615" y="5146312"/>
            <a:ext cx="2502497" cy="710011"/>
          </a:xfrm>
          <a:prstGeom prst="rect">
            <a:avLst/>
          </a:prstGeom>
        </p:spPr>
        <p:txBody>
          <a:bodyPr>
            <a:noAutofit/>
          </a:bodyPr>
          <a:lstStyle>
            <a:lvl1pPr algn="l" rtl="0" fontAlgn="base">
              <a:spcBef>
                <a:spcPts val="6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rtl="0" fontAlgn="base">
              <a:spcBef>
                <a:spcPts val="300"/>
              </a:spcBef>
              <a:spcAft>
                <a:spcPct val="0"/>
              </a:spcAft>
              <a:buClr>
                <a:srgbClr val="005CAB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2D349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Поможем оформить закупку учебников для вашей школы.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2D349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По всем вопросам пишите на почту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B204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les@rosuchebnik.ru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EB204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828823" y="1900519"/>
            <a:ext cx="1145234" cy="156408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52401" y="2899620"/>
            <a:ext cx="1145234" cy="160066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ЛИНИЯ УМК СИВОГЛАЗОВА В.И. (5–11 КЛАССЫ)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6DD6535F-FB21-40C6-94B1-1B9F6CE4AD8F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227295" y="707377"/>
            <a:ext cx="5732110" cy="768163"/>
          </a:xfrm>
          <a:prstGeom prst="rect">
            <a:avLst/>
          </a:prstGeom>
        </p:spPr>
      </p:pic>
      <p:sp>
        <p:nvSpPr>
          <p:cNvPr id="16" name="Скругленный прямоугольник 15"/>
          <p:cNvSpPr/>
          <p:nvPr/>
        </p:nvSpPr>
        <p:spPr>
          <a:xfrm>
            <a:off x="250828" y="4689651"/>
            <a:ext cx="2268679" cy="418559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</a:rPr>
              <a:t>ФП 1.2.5.2.5.1 </a:t>
            </a:r>
            <a:r>
              <a:rPr lang="ru-RU" sz="1600" b="1" dirty="0">
                <a:solidFill>
                  <a:schemeClr val="bg2">
                    <a:lumMod val="75000"/>
                  </a:schemeClr>
                </a:solidFill>
              </a:rPr>
              <a:t>– 1.3.5.6.1.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92444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774521163"/>
              </p:ext>
            </p:extLst>
          </p:nvPr>
        </p:nvGraphicFramePr>
        <p:xfrm>
          <a:off x="1193" y="858441"/>
          <a:ext cx="1191" cy="1191"/>
        </p:xfrm>
        <a:graphic>
          <a:graphicData uri="http://schemas.openxmlformats.org/presentationml/2006/ole">
            <p:oleObj spid="_x0000_s180793" name="think-cell Slide" r:id="rId5" imgW="360" imgH="360" progId="">
              <p:embed/>
            </p:oleObj>
          </a:graphicData>
        </a:graphic>
      </p:graphicFrame>
      <p:sp>
        <p:nvSpPr>
          <p:cNvPr id="14" name="Rectangle 13" hidden="1"/>
          <p:cNvSpPr/>
          <p:nvPr>
            <p:custDataLst>
              <p:tags r:id="rId2"/>
            </p:custDataLst>
          </p:nvPr>
        </p:nvSpPr>
        <p:spPr>
          <a:xfrm>
            <a:off x="11" y="857250"/>
            <a:ext cx="119063" cy="11906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95406" y="1733536"/>
            <a:ext cx="2160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ea typeface="Helios-Cond-Light"/>
                <a:cs typeface="Calibri" panose="020F0502020204030204" pitchFamily="34" charset="0"/>
                <a:sym typeface="Helios-Cond-Light"/>
              </a:rPr>
              <a:t>Как помочь школьникам хорошо учиться?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046879" y="1627112"/>
            <a:ext cx="267261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ea typeface="Helios-Cond-Light"/>
                <a:cs typeface="Calibri" panose="020F0502020204030204" pitchFamily="34" charset="0"/>
                <a:sym typeface="Helios-Cond-Light"/>
              </a:rPr>
              <a:t>Как сделать уроки </a:t>
            </a:r>
            <a:r>
              <a:rPr lang="ru-RU" dirty="0" smtClean="0">
                <a:ea typeface="Helios-Cond-Light"/>
                <a:cs typeface="Calibri" panose="020F0502020204030204" pitchFamily="34" charset="0"/>
                <a:sym typeface="Helios-Cond-Light"/>
              </a:rPr>
              <a:t>биологии интересными </a:t>
            </a:r>
            <a:r>
              <a:rPr lang="ru-RU" dirty="0">
                <a:ea typeface="Helios-Cond-Light"/>
                <a:cs typeface="Calibri" panose="020F0502020204030204" pitchFamily="34" charset="0"/>
                <a:sym typeface="Helios-Cond-Light"/>
              </a:rPr>
              <a:t>и увлекательными для учащихся?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6192773" y="1698821"/>
            <a:ext cx="26105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ea typeface="Helios-Cond-Light"/>
                <a:cs typeface="Calibri" panose="020F0502020204030204" pitchFamily="34" charset="0"/>
                <a:sym typeface="Helios-Cond-Light"/>
              </a:rPr>
              <a:t>Как хорошо подготовить учащихся к аттестации по </a:t>
            </a:r>
            <a:r>
              <a:rPr lang="ru-RU" dirty="0" smtClean="0">
                <a:ea typeface="Helios-Cond-Light"/>
                <a:cs typeface="Calibri" panose="020F0502020204030204" pitchFamily="34" charset="0"/>
                <a:sym typeface="Helios-Cond-Light"/>
              </a:rPr>
              <a:t>биологии? </a:t>
            </a:r>
            <a:endParaRPr lang="ru-RU" dirty="0">
              <a:ea typeface="Helios-Cond-Light"/>
              <a:cs typeface="Calibri" panose="020F0502020204030204" pitchFamily="34" charset="0"/>
              <a:sym typeface="Helios-Cond-Light"/>
            </a:endParaRPr>
          </a:p>
        </p:txBody>
      </p:sp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1192121" y="260648"/>
            <a:ext cx="6580281" cy="64864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2400" dirty="0" smtClean="0">
                <a:latin typeface="+mj-lt"/>
              </a:rPr>
              <a:t>КЛЮЧЕВЫЕ ЗАДАЧИ СОВРЕМЕННОГО УЧИТЕЛЯ</a:t>
            </a:r>
            <a:endParaRPr lang="ru-RU" sz="2400" dirty="0">
              <a:latin typeface="+mj-lt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51931" y="3099150"/>
            <a:ext cx="1987637" cy="196384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351644" y="3053137"/>
            <a:ext cx="2044479" cy="202000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235105" y="3109300"/>
            <a:ext cx="2075978" cy="2051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64208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599" name="Picture 15" descr="ÐÐ¸Ð¾Ð»Ð¾Ð³Ð¸Ñ. 9 ÐºÐ»Ð°ÑÑ. ÐÐ²ÐµÐ´ÐµÐ½Ð¸Ðµ Ð² Ð¾Ð±ÑÑÑ Ð±Ð¸Ð¾Ð»Ð¾Ð³Ð¸Ñ. Ð£ÑÐµÐ±Ð½Ð¸Ðº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75135" y="1265242"/>
            <a:ext cx="640556" cy="111918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67597" name="Picture 13" descr="ÐÐ¸Ð¾Ð»Ð¾Ð³Ð¸Ñ. Ð§ÐµÐ»Ð¾Ð²ÐµÐº.8 ÐºÐ»Ð°ÑÑ. Ð£ÑÐµÐ±Ð½Ð¸Ðº. ÐÐÐ Ð¢ÐÐÐÐÐ¬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7019" y="1265242"/>
            <a:ext cx="639365" cy="111918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67595" name="Picture 11" descr="ÐÐ¸Ð¾Ð»Ð¾Ð³Ð¸Ñ. 7 ÐºÐ»Ð°ÑÑ. ÐÐ¸Ð²Ð¾ÑÐ½ÑÐµ. Ð£ÑÐµÐ±Ð½Ð¸Ðº"/>
          <p:cNvPicPr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4148" y="1265242"/>
            <a:ext cx="639365" cy="111918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67593" name="Picture 9" descr="ÐÐ¸Ð¾Ð»Ð¾Ð³Ð¸Ñ. ÐÐ½Ð¾Ð³Ð¾Ð¾Ð±ÑÐ°Ð·Ð¸Ðµ Ð¿Ð¾ÐºÑÑÑÐ¾ÑÐµÐ¼ÐµÐ½Ð½ÑÑ ÑÐ°ÑÑÐµÐ½Ð¸Ð¹. 6 ÐºÐ»Ð°ÑÑ. Ð£ÑÐµÐ±Ð½Ð¸Ðº. ÐÐÐ Ð¢ÐÐÐÐÐ¬"/>
          <p:cNvPicPr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02444" y="1265242"/>
            <a:ext cx="639366" cy="111918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graphicFrame>
        <p:nvGraphicFramePr>
          <p:cNvPr id="74760" name="Object 8"/>
          <p:cNvGraphicFramePr>
            <a:graphicFrameLocks noChangeAspect="1"/>
          </p:cNvGraphicFramePr>
          <p:nvPr/>
        </p:nvGraphicFramePr>
        <p:xfrm>
          <a:off x="1192" y="1608"/>
          <a:ext cx="1190" cy="1587"/>
        </p:xfrm>
        <a:graphic>
          <a:graphicData uri="http://schemas.openxmlformats.org/presentationml/2006/ole">
            <p:oleObj spid="_x0000_s385026" name="think-cell Slide" r:id="rId9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1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ts val="2100"/>
              </a:lnSpc>
              <a:defRPr/>
            </a:pPr>
            <a:endParaRPr lang="ru-RU" sz="20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4766" name="Заголовок 3"/>
          <p:cNvSpPr>
            <a:spLocks noGrp="1"/>
          </p:cNvSpPr>
          <p:nvPr>
            <p:ph type="title"/>
          </p:nvPr>
        </p:nvSpPr>
        <p:spPr>
          <a:xfrm>
            <a:off x="940594" y="260350"/>
            <a:ext cx="7949804" cy="649288"/>
          </a:xfrm>
        </p:spPr>
        <p:txBody>
          <a:bodyPr/>
          <a:lstStyle/>
          <a:p>
            <a:r>
              <a:rPr lang="ru-RU" smtClean="0"/>
              <a:t>РЕКОМЕНДАЦИИ ПО ПЕРЕХОДУ </a:t>
            </a:r>
            <a:r>
              <a:rPr lang="en-US" smtClean="0"/>
              <a:t/>
            </a:r>
            <a:br>
              <a:rPr lang="en-US" smtClean="0"/>
            </a:br>
            <a:r>
              <a:rPr lang="ru-RU" smtClean="0">
                <a:solidFill>
                  <a:srgbClr val="EB2049"/>
                </a:solidFill>
              </a:rPr>
              <a:t>БИОЛОГ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868104" y="1489075"/>
            <a:ext cx="1754981" cy="6492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</a:rPr>
              <a:t>Линия УМК Пасечника В. В.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</a:rPr>
              <a:t>(5-9 класс)</a:t>
            </a:r>
          </a:p>
        </p:txBody>
      </p:sp>
      <p:sp>
        <p:nvSpPr>
          <p:cNvPr id="74768" name="TextBox 7"/>
          <p:cNvSpPr txBox="1">
            <a:spLocks noChangeArrowheads="1"/>
          </p:cNvSpPr>
          <p:nvPr/>
        </p:nvSpPr>
        <p:spPr bwMode="auto">
          <a:xfrm>
            <a:off x="1113242" y="4795852"/>
            <a:ext cx="7777163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>
                <a:latin typeface="Calibri" pitchFamily="34" charset="0"/>
              </a:rPr>
              <a:t>В учебнике 9 класса УМК Пономаревой И.Н. (глава 3) включены темы, интегрированные с разделами «Ботаника», «Зоология», «Анатомия», что позволяет рассмотреть вопросы общей биологии на конкретных примерах жизнедеятельности бактерий, растений, грибов, лишайников, животных. Данная особенность учебника способствует получению высоких результатов при подготовке обучающихся к ОГЭ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147892" y="6402388"/>
            <a:ext cx="631031" cy="2159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2795588" y="6324878"/>
            <a:ext cx="857250" cy="369332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ики ФП 2018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068004" y="6324878"/>
            <a:ext cx="938213" cy="369332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ики ФП 201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4</a:t>
            </a:r>
            <a:endParaRPr lang="ru-RU" sz="9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19101" y="6402388"/>
            <a:ext cx="632222" cy="2159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170330" y="2814665"/>
            <a:ext cx="740499" cy="776287"/>
          </a:xfrm>
          <a:prstGeom prst="ellipse">
            <a:avLst/>
          </a:prstGeom>
          <a:noFill/>
          <a:ln w="28575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140354" y="3763496"/>
            <a:ext cx="747153" cy="774700"/>
          </a:xfrm>
          <a:prstGeom prst="ellipse">
            <a:avLst/>
          </a:prstGeom>
          <a:noFill/>
          <a:ln w="28575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134484" y="4708525"/>
            <a:ext cx="776357" cy="774700"/>
          </a:xfrm>
          <a:prstGeom prst="ellipse">
            <a:avLst/>
          </a:prstGeom>
          <a:noFill/>
          <a:ln w="28575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74776" name="Рисунок 24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09634" y="3000870"/>
            <a:ext cx="452366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Group 115"/>
          <p:cNvGrpSpPr/>
          <p:nvPr/>
        </p:nvGrpSpPr>
        <p:grpSpPr>
          <a:xfrm>
            <a:off x="3978285" y="1498712"/>
            <a:ext cx="352865" cy="630000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29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84406" tIns="42203" rIns="84406" bIns="422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62">
                <a:latin typeface="+mn-lt"/>
                <a:cs typeface="+mn-cs"/>
              </a:endParaRPr>
            </a:p>
          </p:txBody>
        </p:sp>
        <p:sp>
          <p:nvSpPr>
            <p:cNvPr id="30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84406" tIns="42203" rIns="84406" bIns="422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62">
                <a:latin typeface="+mn-lt"/>
                <a:cs typeface="+mn-cs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0" y="5688040"/>
            <a:ext cx="9144000" cy="422275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робные методические рекомендации и </a:t>
            </a:r>
            <a:r>
              <a:rPr lang="ru-RU" sz="13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ебинары</a:t>
            </a:r>
            <a:r>
              <a:rPr lang="ru-RU" sz="13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см. по ссылке: 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suchebnik.ru/fpu345</a:t>
            </a:r>
            <a:r>
              <a:rPr lang="ru-RU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ru-RU" sz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779" name="TextBox 30"/>
          <p:cNvSpPr txBox="1">
            <a:spLocks noChangeArrowheads="1"/>
          </p:cNvSpPr>
          <p:nvPr/>
        </p:nvSpPr>
        <p:spPr bwMode="auto">
          <a:xfrm>
            <a:off x="1113242" y="2854338"/>
            <a:ext cx="7777163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>
                <a:latin typeface="Calibri" pitchFamily="34" charset="0"/>
              </a:rPr>
              <a:t>Обе линии представляют  собой концентрический курс по биологии. Пройдя обучение в 5-8 классах по УМК Пасечника В.В., обучающиеся могут закончить изучение концентрического курса биологии в 9 классе  по учебнику «Общие биологические закономерности» по УМК Пономаревой И.Н., не нарушая логическую концепцию курса, что позволяет в полном объеме выполнить программу изучения биологии  на ступени основного общего образования. </a:t>
            </a:r>
          </a:p>
        </p:txBody>
      </p:sp>
      <p:sp>
        <p:nvSpPr>
          <p:cNvPr id="74780" name="TextBox 31"/>
          <p:cNvSpPr txBox="1">
            <a:spLocks noChangeArrowheads="1"/>
          </p:cNvSpPr>
          <p:nvPr/>
        </p:nvSpPr>
        <p:spPr bwMode="auto">
          <a:xfrm>
            <a:off x="1113242" y="3862399"/>
            <a:ext cx="7777163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>
                <a:latin typeface="Calibri" pitchFamily="34" charset="0"/>
              </a:rPr>
              <a:t>Оба УМК имеют сходство в изложении и структуре учебного материала, что обеспечивает преемственность при переходе: традиционная подача материала, задания для самостоятельных наблюдений, наличие дополнительной информации, расширяющей содержание базовых понятий, задания на определение причинно-следственной связи, сравнение, анализ информации. </a:t>
            </a:r>
          </a:p>
        </p:txBody>
      </p:sp>
      <p:pic>
        <p:nvPicPr>
          <p:cNvPr id="74781" name="Рисунок 8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67553" y="4818063"/>
            <a:ext cx="407544" cy="557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4782" name="Рисунок 9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20992" y="3934388"/>
            <a:ext cx="355997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7591" name="Picture 7" descr="ÐÐ¸Ð¾Ð»Ð¾Ð³Ð¸Ñ. 5 ÐºÐ»Ð°ÑÑ. ÐÐ°ÐºÑÐµÑÐ¸Ð¸, Ð³ÑÐ¸Ð±Ñ, ÑÐ°ÑÑÐµÐ½Ð¸Ñ. Ð£ÑÐµÐ±Ð½Ð¸Ðº"/>
          <p:cNvPicPr>
            <a:picLocks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61377" y="1263650"/>
            <a:ext cx="786373" cy="111918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sp>
        <p:nvSpPr>
          <p:cNvPr id="34" name="Прямоугольник 33"/>
          <p:cNvSpPr/>
          <p:nvPr/>
        </p:nvSpPr>
        <p:spPr>
          <a:xfrm>
            <a:off x="6342460" y="1247778"/>
            <a:ext cx="2343150" cy="1122363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latin typeface="Calibri" panose="020F0502020204030204" pitchFamily="34" charset="0"/>
              </a:rPr>
              <a:t>Линия УМК Пономаревой И. Н. (концентрическая, 5-9 класс)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400" b="1" dirty="0">
                <a:latin typeface="Calibri" panose="020F0502020204030204" pitchFamily="34" charset="0"/>
              </a:rPr>
              <a:t>ФП № 1.2.5.2.3.1 – 1.2.5.2.3.5</a:t>
            </a:r>
          </a:p>
        </p:txBody>
      </p:sp>
      <p:pic>
        <p:nvPicPr>
          <p:cNvPr id="35" name="Picture 25" descr="ÐÐ¸Ð¾Ð»Ð¾Ð³Ð¸Ñ. 9Â ÐºÐ»Ð°ÑÑ. Ð£ÑÐµÐ±Ð½Ð¸Ðº."/>
          <p:cNvPicPr>
            <a:picLocks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537597" y="1249365"/>
            <a:ext cx="647700" cy="1120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36" name="Picture 23" descr="ÐÐ¸Ð¾Ð»Ð¾Ð³Ð¸Ñ. 8Â ÐºÐ»Ð°ÑÑ. Ð£ÑÐµÐ±Ð½Ð¸Ðº."/>
          <p:cNvPicPr>
            <a:picLocks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5324475" y="1249365"/>
            <a:ext cx="647700" cy="1120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37" name="Picture 21" descr="ÐÐ¸Ð¾Ð»Ð¾Ð³Ð¸Ñ. 7Â ÐºÐ»Ð°ÑÑ. Ð£ÑÐµÐ±Ð½Ð¸Ðº."/>
          <p:cNvPicPr>
            <a:picLocks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5111354" y="1249365"/>
            <a:ext cx="647700" cy="1120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38" name="Picture 19" descr="ÐÐ¸Ð¾Ð»Ð¾Ð³Ð¸Ñ. 6Â ÐºÐ». Ð£ÑÐµÐ±Ð½Ð¸Ðº."/>
          <p:cNvPicPr>
            <a:picLocks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4899422" y="1249365"/>
            <a:ext cx="647700" cy="1120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39" name="Picture 17" descr="ÐÐ¸Ð¾Ð»Ð¾Ð³Ð¸Ñ. 5Â ÐºÐ»Ð°ÑÑ. Ð£ÑÐµÐ±Ð½Ð¸Ðº"/>
          <p:cNvPicPr>
            <a:picLocks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554084" y="1249365"/>
            <a:ext cx="779929" cy="1120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633" name="Picture 25" descr="ÐÐ¸Ð¾Ð»Ð¾Ð³Ð¸Ñ. 9 ÐºÐ»Ð°ÑÑ. Ð§ÐµÐ»Ð¾Ð²ÐµÐº. Ð£ÑÐµÐ±Ð½Ð¸Ðº (Ð¡Ð¸Ð½Ð¸Ð¹). ÐÐÐ Ð¢ÐÐÐÐÐ¬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394230" y="1249364"/>
            <a:ext cx="615553" cy="116363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68631" name="Picture 23" descr="ÐÐ¸Ð¾Ð»Ð¾Ð³Ð¸Ñ. 8 ÐºÐ»Ð°ÑÑ. ÐÐ½Ð¾Ð³Ð¾Ð¾Ð±ÑÐ°Ð·Ð¸Ðµ Ð¶Ð¸Ð²ÑÑ Ð¾ÑÐ³Ð°Ð½Ð¸Ð·Ð¼Ð¾Ð². ÐÐ¸Ð²Ð¾ÑÐ½ÑÐµ. Ð£ÑÐµÐ±Ð½Ð¸Ðº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21570" y="1249364"/>
            <a:ext cx="619125" cy="116363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68629" name="Picture 21" descr="ÐÐ¸Ð¾Ð»Ð¾Ð³Ð¸Ñ. 7 ÐºÐ»Ð°ÑÑ. ÐÐ°ÐºÑÐµÑÐ¸Ð¸, Ð³ÑÐ¸Ð±Ñ, ÑÐ°ÑÑÐµÐ½Ð¸Ñ. Ð£ÑÐµÐ±Ð½Ð¸Ðº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48930" y="1249364"/>
            <a:ext cx="620315" cy="116363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68627" name="Picture 19" descr="ÐÐ¸Ð¾Ð»Ð¾Ð³Ð¸Ñ. 6 ÐºÐ»Ð°ÑÑ. ÐÐ¸Ð²Ð¾Ð¹ Ð¾ÑÐ³Ð°Ð½Ð¸Ð·Ð¼. Ð£ÑÐµÐ±Ð½Ð¸Ðº (Ð¡Ð¸Ð½Ð¸Ð¹). ÐÐÐ Ð¢ÐÐÐÐÐ¬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77454" y="1249364"/>
            <a:ext cx="619125" cy="116363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graphicFrame>
        <p:nvGraphicFramePr>
          <p:cNvPr id="75784" name="Object 8"/>
          <p:cNvGraphicFramePr>
            <a:graphicFrameLocks noChangeAspect="1"/>
          </p:cNvGraphicFramePr>
          <p:nvPr/>
        </p:nvGraphicFramePr>
        <p:xfrm>
          <a:off x="1192" y="1608"/>
          <a:ext cx="1190" cy="1587"/>
        </p:xfrm>
        <a:graphic>
          <a:graphicData uri="http://schemas.openxmlformats.org/presentationml/2006/ole">
            <p:oleObj spid="_x0000_s386050" name="think-cell Slide" r:id="rId9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1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ts val="2100"/>
              </a:lnSpc>
              <a:defRPr/>
            </a:pPr>
            <a:endParaRPr lang="ru-RU" sz="20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5790" name="Заголовок 3"/>
          <p:cNvSpPr>
            <a:spLocks noGrp="1"/>
          </p:cNvSpPr>
          <p:nvPr>
            <p:ph type="title"/>
          </p:nvPr>
        </p:nvSpPr>
        <p:spPr>
          <a:xfrm>
            <a:off x="940594" y="260350"/>
            <a:ext cx="7949804" cy="649288"/>
          </a:xfrm>
        </p:spPr>
        <p:txBody>
          <a:bodyPr/>
          <a:lstStyle/>
          <a:p>
            <a:r>
              <a:rPr lang="ru-RU" smtClean="0"/>
              <a:t>РЕКОМЕНДАЦИИ ПО ПЕРЕХОДУ </a:t>
            </a:r>
            <a:r>
              <a:rPr lang="en-US" smtClean="0"/>
              <a:t/>
            </a:r>
            <a:br>
              <a:rPr lang="en-US" smtClean="0"/>
            </a:br>
            <a:r>
              <a:rPr lang="ru-RU" smtClean="0">
                <a:solidFill>
                  <a:srgbClr val="EB2049"/>
                </a:solidFill>
              </a:rPr>
              <a:t>БИОЛОГ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197907" y="1506538"/>
            <a:ext cx="1754981" cy="6477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</a:rPr>
              <a:t>Линия УМК Сонина Н.И. (линейная, 5-9 класс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506766" y="1247778"/>
            <a:ext cx="2240756" cy="1165225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latin typeface="Calibri" panose="020F0502020204030204" pitchFamily="34" charset="0"/>
              </a:rPr>
              <a:t>Линия УМК Пономаревой И. Н. (линейная, 5-9 класс)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400" b="1" dirty="0">
                <a:latin typeface="Calibri" panose="020F0502020204030204" pitchFamily="34" charset="0"/>
              </a:rPr>
              <a:t>ФП № 1.2.5.2.6.1 – 1.2.5.2.6.4</a:t>
            </a:r>
          </a:p>
        </p:txBody>
      </p:sp>
      <p:sp>
        <p:nvSpPr>
          <p:cNvPr id="75793" name="TextBox 7"/>
          <p:cNvSpPr txBox="1">
            <a:spLocks noChangeArrowheads="1"/>
          </p:cNvSpPr>
          <p:nvPr/>
        </p:nvSpPr>
        <p:spPr bwMode="auto">
          <a:xfrm>
            <a:off x="1076325" y="4187838"/>
            <a:ext cx="7840266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>
                <a:latin typeface="Calibri" pitchFamily="34" charset="0"/>
              </a:rPr>
              <a:t>В учебники линии Пономаревой И.Н. включены методики выполнения лабораторных и практических работ (в линии УМК Сонина Н.И. лабораторные работы вынесены в отдельное пособие), позволяющие закреплять полученные знания и развивать практические навыки и умения. Практическую направленность и личностно адаптированный развивающий характер содержания учебников линии Пономаревой отражают мотивирующие вопросы в начале параграфов, направленные на актуализацию знаний перед изучением нового материала, дифференцированные задания, в том числе и творческого характера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147892" y="6402388"/>
            <a:ext cx="631031" cy="2159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2795588" y="6324878"/>
            <a:ext cx="857250" cy="369332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ики ФП 2018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068004" y="6324878"/>
            <a:ext cx="938213" cy="369332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ики ФП 201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4</a:t>
            </a:r>
            <a:endParaRPr lang="ru-RU" sz="9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19101" y="6402388"/>
            <a:ext cx="632222" cy="2159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140355" y="2965450"/>
            <a:ext cx="765082" cy="776288"/>
          </a:xfrm>
          <a:prstGeom prst="ellipse">
            <a:avLst/>
          </a:prstGeom>
          <a:noFill/>
          <a:ln w="28575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107578" y="4256115"/>
            <a:ext cx="803252" cy="776287"/>
          </a:xfrm>
          <a:prstGeom prst="ellipse">
            <a:avLst/>
          </a:prstGeom>
          <a:noFill/>
          <a:ln w="28575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75800" name="Рисунок 24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76518" y="3133752"/>
            <a:ext cx="425964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Group 115"/>
          <p:cNvGrpSpPr/>
          <p:nvPr/>
        </p:nvGrpSpPr>
        <p:grpSpPr>
          <a:xfrm>
            <a:off x="4145162" y="1515976"/>
            <a:ext cx="352865" cy="630000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29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84406" tIns="42203" rIns="84406" bIns="42203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62">
                <a:latin typeface="+mn-lt"/>
                <a:cs typeface="+mn-cs"/>
              </a:endParaRPr>
            </a:p>
          </p:txBody>
        </p:sp>
        <p:sp>
          <p:nvSpPr>
            <p:cNvPr id="30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84406" tIns="42203" rIns="84406" bIns="42203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62">
                <a:latin typeface="+mn-lt"/>
                <a:cs typeface="+mn-cs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0" y="5688040"/>
            <a:ext cx="9144000" cy="422275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робные методические рекомендации и </a:t>
            </a:r>
            <a:r>
              <a:rPr lang="ru-RU" sz="13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ебинары</a:t>
            </a:r>
            <a:r>
              <a:rPr lang="ru-RU" sz="13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см. по ссылке: 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suchebnik.ru/fpu345</a:t>
            </a:r>
            <a:r>
              <a:rPr lang="ru-RU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ru-RU" sz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803" name="TextBox 36"/>
          <p:cNvSpPr txBox="1">
            <a:spLocks noChangeArrowheads="1"/>
          </p:cNvSpPr>
          <p:nvPr/>
        </p:nvSpPr>
        <p:spPr bwMode="auto">
          <a:xfrm>
            <a:off x="1067993" y="2965463"/>
            <a:ext cx="7839075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>
                <a:latin typeface="Calibri" pitchFamily="34" charset="0"/>
              </a:rPr>
              <a:t>Оба УМК представляют  собой линейный курс биологии и имеют схожий методический подход в построении содержания.  Пройдя обучение в 5-8 классах по УМК Сонина В.И. обучающиеся могут закончить изучение курса биологии в 9 классе по учебнику «Человек и его здоровье» по УМК  Пономаревой И.Н., не нарушая логическую концепцию курса,  что позволяет  в полном объеме выполнить программу изучения биологии основного общего образования.</a:t>
            </a:r>
          </a:p>
        </p:txBody>
      </p:sp>
      <p:pic>
        <p:nvPicPr>
          <p:cNvPr id="75804" name="Рисунок 9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95848" y="4391025"/>
            <a:ext cx="522125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12" descr="ÐÐ¸Ð¾Ð»Ð¾Ð³Ð¸Ñ. 9 ÐºÐ»Ð°ÑÑ. Ð£ÑÐµÐ±Ð½Ð¸Ðº.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34037" y="1247776"/>
            <a:ext cx="672704" cy="116681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41" name="Picture 14" descr="https://articlerus.ru/wp-content/uploads/pic/ea7e9ee0000014df8002000001ff100a0191001ed9df0020004153d4d0d3c9189a1b53468f286309899301300036b8e6f211920dd2e57c7fc519e013481/b2940699dec756296c9370b39151c2d53817e2ee48a70a121d4fd3dc0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319725" y="1249364"/>
            <a:ext cx="671513" cy="116363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42" name="Picture 10" descr="ÐÐ¸Ð¾Ð»Ð¾Ð³Ð¸Ñ. 7 ÐºÐ»Ð°ÑÑ. Ð£ÑÐµÐ±Ð½Ð¸Ðº.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004211" y="1247776"/>
            <a:ext cx="672703" cy="116681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43" name="Picture 8" descr="ÐÐ¸Ð¾Ð»Ð¾Ð³Ð¸Ñ. 5-6Â ÐºÐ»Ð°ÑÑ. Ð£ÑÐµÐ±Ð½Ð¸Ðº.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563037" y="1249364"/>
            <a:ext cx="798350" cy="116363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68625" name="Picture 17" descr="ÐÐ¸Ð¾Ð»Ð¾Ð³Ð¸Ñ. ÐÐ²ÐµÐ´ÐµÐ½Ð¸Ðµ Ð² Ð±Ð¸Ð¾Ð»Ð¾Ð³Ð¸Ñ. 5 ÐºÐ»Ð°ÑÑ. (Ð¡Ð¸Ð½Ð¸Ð¹). ÐÐÐ Ð¢ÐÐÐÐÐ¬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43436" y="1249364"/>
            <a:ext cx="780490" cy="116363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52" name="Picture 20" descr="ÐÐ¸Ð¾Ð»Ð¾Ð³Ð¸Ñ. 9 Â ÐºÐ»Ð°ÑÑ. Ð£ÑÐµÐ±Ð½Ð¸Ðº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10842" y="1247775"/>
            <a:ext cx="650081" cy="112395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69650" name="Picture 18" descr="ÐÐ¸Ð¾Ð»Ð¾Ð³Ð¸Ñ. 8Â ÐºÐ»Ð°ÑÑ. Ð£ÑÐµÐ±Ð½Ð¸Ðº.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10817" y="1247775"/>
            <a:ext cx="650081" cy="112395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69647" name="Picture 15" descr="ÐÐ¸Ð¾Ð»Ð¾Ð³Ð¸Ñ. 7Â ÐºÐ». Ð£ÑÐµÐ±Ð½Ð¸Ðº."/>
          <p:cNvPicPr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09590" y="1247775"/>
            <a:ext cx="651272" cy="112395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graphicFrame>
        <p:nvGraphicFramePr>
          <p:cNvPr id="76808" name="Object 8"/>
          <p:cNvGraphicFramePr>
            <a:graphicFrameLocks noChangeAspect="1"/>
          </p:cNvGraphicFramePr>
          <p:nvPr/>
        </p:nvGraphicFramePr>
        <p:xfrm>
          <a:off x="1192" y="1608"/>
          <a:ext cx="1190" cy="1587"/>
        </p:xfrm>
        <a:graphic>
          <a:graphicData uri="http://schemas.openxmlformats.org/presentationml/2006/ole">
            <p:oleObj spid="_x0000_s387074" name="think-cell Slide" r:id="rId8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1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ts val="2100"/>
              </a:lnSpc>
              <a:defRPr/>
            </a:pPr>
            <a:endParaRPr lang="ru-RU" sz="20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6813" name="Заголовок 3"/>
          <p:cNvSpPr>
            <a:spLocks noGrp="1"/>
          </p:cNvSpPr>
          <p:nvPr>
            <p:ph type="title"/>
          </p:nvPr>
        </p:nvSpPr>
        <p:spPr>
          <a:xfrm>
            <a:off x="940594" y="260350"/>
            <a:ext cx="7949804" cy="649288"/>
          </a:xfrm>
        </p:spPr>
        <p:txBody>
          <a:bodyPr/>
          <a:lstStyle/>
          <a:p>
            <a:r>
              <a:rPr lang="ru-RU" smtClean="0"/>
              <a:t>РЕКОМЕНДАЦИИ ПО ПЕРЕХОДУ </a:t>
            </a:r>
            <a:r>
              <a:rPr lang="en-US" smtClean="0"/>
              <a:t/>
            </a:r>
            <a:br>
              <a:rPr lang="en-US" smtClean="0"/>
            </a:br>
            <a:r>
              <a:rPr lang="ru-RU" smtClean="0">
                <a:solidFill>
                  <a:srgbClr val="EB2049"/>
                </a:solidFill>
              </a:rPr>
              <a:t>БИОЛОГ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710930" y="1485900"/>
            <a:ext cx="1754981" cy="6477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</a:rPr>
              <a:t>Линия УМК «Живая природа» Суховой Т. С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</a:rPr>
              <a:t>(5-9 класс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342460" y="1247778"/>
            <a:ext cx="2325290" cy="1122363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latin typeface="Calibri" panose="020F0502020204030204" pitchFamily="34" charset="0"/>
              </a:rPr>
              <a:t>Линия УМК Пономаревой И. Н. (концентрическая, 5-9 класс)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400" b="1" dirty="0">
                <a:latin typeface="Calibri" panose="020F0502020204030204" pitchFamily="34" charset="0"/>
              </a:rPr>
              <a:t>ФП № 1.2.5.2.3.1 – 1.2.5.2.3.5</a:t>
            </a:r>
          </a:p>
        </p:txBody>
      </p:sp>
      <p:sp>
        <p:nvSpPr>
          <p:cNvPr id="76816" name="TextBox 7"/>
          <p:cNvSpPr txBox="1">
            <a:spLocks noChangeArrowheads="1"/>
          </p:cNvSpPr>
          <p:nvPr/>
        </p:nvSpPr>
        <p:spPr bwMode="auto">
          <a:xfrm>
            <a:off x="1068004" y="3205167"/>
            <a:ext cx="7465219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>
                <a:latin typeface="Calibri" pitchFamily="34" charset="0"/>
              </a:rPr>
              <a:t>Обе линии созданы по концентрическому принципу. Пройдя обучение в 5-8 классах по УМК «Живая природа»,  обучающиеся могут закончить изучение концентрического курса биологии в 9 классе  по учебнику «Общие биологические закономерности»  УМК  Пономаревой И.Н., не нарушая логическую концепцию курса, что позволяет в полном объеме выполнить программу изучения биологии основного общего образования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147892" y="6402388"/>
            <a:ext cx="631031" cy="2159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2795588" y="6324878"/>
            <a:ext cx="857250" cy="369332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ики ФП 2018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068004" y="6324878"/>
            <a:ext cx="938213" cy="369332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ики ФП 201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4</a:t>
            </a:r>
            <a:endParaRPr lang="ru-RU" sz="9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19101" y="6402388"/>
            <a:ext cx="632222" cy="2159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4" name="Group 115"/>
          <p:cNvGrpSpPr/>
          <p:nvPr/>
        </p:nvGrpSpPr>
        <p:grpSpPr>
          <a:xfrm>
            <a:off x="3899951" y="1485738"/>
            <a:ext cx="352865" cy="630000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29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84406" tIns="42203" rIns="84406" bIns="42203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62">
                <a:latin typeface="+mn-lt"/>
                <a:cs typeface="+mn-cs"/>
              </a:endParaRPr>
            </a:p>
          </p:txBody>
        </p:sp>
        <p:sp>
          <p:nvSpPr>
            <p:cNvPr id="30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84406" tIns="42203" rIns="84406" bIns="42203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62">
                <a:latin typeface="+mn-lt"/>
                <a:cs typeface="+mn-cs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0" y="5688040"/>
            <a:ext cx="9144000" cy="422275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робные методические рекомендации и </a:t>
            </a:r>
            <a:r>
              <a:rPr lang="ru-RU" sz="13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ебинары</a:t>
            </a:r>
            <a:r>
              <a:rPr lang="ru-RU" sz="13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см. по ссылке: 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suchebnik.ru/fpu345</a:t>
            </a:r>
            <a:r>
              <a:rPr lang="ru-RU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ru-RU" sz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8" name="Picture 25" descr="ÐÐ¸Ð¾Ð»Ð¾Ð³Ð¸Ñ. 9Â ÐºÐ»Ð°ÑÑ. Ð£ÑÐµÐ±Ð½Ð¸Ðº."/>
          <p:cNvPicPr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537597" y="1249365"/>
            <a:ext cx="647700" cy="1120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31" name="Picture 23" descr="ÐÐ¸Ð¾Ð»Ð¾Ð³Ð¸Ñ. 8Â ÐºÐ»Ð°ÑÑ. Ð£ÑÐµÐ±Ð½Ð¸Ðº."/>
          <p:cNvPicPr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324475" y="1249365"/>
            <a:ext cx="647700" cy="1120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32" name="Picture 21" descr="ÐÐ¸Ð¾Ð»Ð¾Ð³Ð¸Ñ. 7Â ÐºÐ»Ð°ÑÑ. Ð£ÑÐµÐ±Ð½Ð¸Ðº.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111354" y="1249365"/>
            <a:ext cx="647700" cy="1120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33" name="Picture 19" descr="ÐÐ¸Ð¾Ð»Ð¾Ð³Ð¸Ñ. 6Â ÐºÐ». Ð£ÑÐµÐ±Ð½Ð¸Ðº."/>
          <p:cNvPicPr>
            <a:picLocks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899422" y="1249365"/>
            <a:ext cx="647700" cy="1120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34" name="Picture 17" descr="ÐÐ¸Ð¾Ð»Ð¾Ð³Ð¸Ñ. 5Â ÐºÐ»Ð°ÑÑ. Ð£ÑÐµÐ±Ð½Ð¸Ðº"/>
          <p:cNvPicPr>
            <a:picLocks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464424" y="1249365"/>
            <a:ext cx="869576" cy="1120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69645" name="Picture 13" descr="ÐÐ¸Ð¾Ð»Ð¾Ð³Ð¸Ñ. 6Â ÐºÐ». Ð£ÑÐµÐ±Ð½Ð¸Ðº."/>
          <p:cNvPicPr>
            <a:picLocks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52403" y="1247775"/>
            <a:ext cx="807244" cy="112395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sp>
        <p:nvSpPr>
          <p:cNvPr id="76829" name="TextBox 34"/>
          <p:cNvSpPr txBox="1">
            <a:spLocks noChangeArrowheads="1"/>
          </p:cNvSpPr>
          <p:nvPr/>
        </p:nvSpPr>
        <p:spPr bwMode="auto">
          <a:xfrm>
            <a:off x="1068004" y="4618052"/>
            <a:ext cx="7465219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>
                <a:latin typeface="Calibri" pitchFamily="34" charset="0"/>
              </a:rPr>
              <a:t>В учебнике 9 класса УМК Пономаревой И.Н. (глава 3) включены темы, интегрированные с разделами «Ботаника», «Зоология», «Анатомия», что позволяет рассмотреть вопросы общей биологии на конкретных примерах жизнедеятельности бактерий, растений, грибов, лишайников, животных. Данная особенность учебника способствует получению высоких результатов при подготовке обучающихся к ОГЭ.</a:t>
            </a:r>
          </a:p>
        </p:txBody>
      </p:sp>
      <p:sp>
        <p:nvSpPr>
          <p:cNvPr id="22" name="Овал 21"/>
          <p:cNvSpPr/>
          <p:nvPr/>
        </p:nvSpPr>
        <p:spPr>
          <a:xfrm>
            <a:off x="192882" y="3195643"/>
            <a:ext cx="757378" cy="776287"/>
          </a:xfrm>
          <a:prstGeom prst="ellipse">
            <a:avLst/>
          </a:prstGeom>
          <a:noFill/>
          <a:ln w="28575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188272" y="4500563"/>
            <a:ext cx="738047" cy="774700"/>
          </a:xfrm>
          <a:prstGeom prst="ellipse">
            <a:avLst/>
          </a:prstGeom>
          <a:noFill/>
          <a:ln w="28575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76832" name="Рисунок 24"/>
          <p:cNvPicPr>
            <a:picLocks noChangeAspect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03413" y="3363917"/>
            <a:ext cx="415738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6833" name="Рисунок 37"/>
          <p:cNvPicPr>
            <a:picLocks noChangeAspect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40661" y="4603777"/>
            <a:ext cx="451107" cy="55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Рисунок 43" descr="cover1_9kl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996676" y="1309387"/>
            <a:ext cx="767945" cy="1075765"/>
          </a:xfrm>
          <a:prstGeom prst="rect">
            <a:avLst/>
          </a:prstGeom>
          <a:ln w="31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77830" name="Object 6"/>
          <p:cNvGraphicFramePr>
            <a:graphicFrameLocks noChangeAspect="1"/>
          </p:cNvGraphicFramePr>
          <p:nvPr/>
        </p:nvGraphicFramePr>
        <p:xfrm>
          <a:off x="1192" y="1608"/>
          <a:ext cx="1190" cy="1587"/>
        </p:xfrm>
        <a:graphic>
          <a:graphicData uri="http://schemas.openxmlformats.org/presentationml/2006/ole">
            <p:oleObj spid="_x0000_s388098" name="think-cell Slide" r:id="rId6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1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ts val="2100"/>
              </a:lnSpc>
              <a:defRPr/>
            </a:pPr>
            <a:endParaRPr lang="ru-RU" sz="20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7834" name="Заголовок 3"/>
          <p:cNvSpPr>
            <a:spLocks noGrp="1"/>
          </p:cNvSpPr>
          <p:nvPr>
            <p:ph type="title"/>
          </p:nvPr>
        </p:nvSpPr>
        <p:spPr>
          <a:xfrm>
            <a:off x="940594" y="260350"/>
            <a:ext cx="7949804" cy="649288"/>
          </a:xfrm>
        </p:spPr>
        <p:txBody>
          <a:bodyPr/>
          <a:lstStyle/>
          <a:p>
            <a:r>
              <a:rPr lang="ru-RU" smtClean="0"/>
              <a:t>РЕКОМЕНДАЦИИ ПО ПЕРЕХОДУ </a:t>
            </a:r>
            <a:r>
              <a:rPr lang="en-US" smtClean="0"/>
              <a:t/>
            </a:r>
            <a:br>
              <a:rPr lang="en-US" smtClean="0"/>
            </a:br>
            <a:r>
              <a:rPr lang="ru-RU" smtClean="0">
                <a:solidFill>
                  <a:srgbClr val="EB2049"/>
                </a:solidFill>
              </a:rPr>
              <a:t>БИОЛОГ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016372" y="1466290"/>
            <a:ext cx="1754981" cy="6477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chemeClr val="tx1"/>
                </a:solidFill>
                <a:latin typeface="Calibri" panose="020F0502020204030204" pitchFamily="34" charset="0"/>
              </a:rPr>
              <a:t>Линия УМК Сонина Н. И. (концентрическая, 5-9 класс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857715" y="1372855"/>
            <a:ext cx="2286289" cy="1013012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latin typeface="Calibri" panose="020F0502020204030204" pitchFamily="34" charset="0"/>
              </a:rPr>
              <a:t>Линия УМК </a:t>
            </a:r>
            <a:r>
              <a:rPr lang="ru-RU" sz="1400" b="1" dirty="0" err="1">
                <a:latin typeface="Calibri" panose="020F0502020204030204" pitchFamily="34" charset="0"/>
              </a:rPr>
              <a:t>Сивоглазова</a:t>
            </a:r>
            <a:r>
              <a:rPr lang="ru-RU" sz="1400" b="1" dirty="0">
                <a:latin typeface="Calibri" panose="020F0502020204030204" pitchFamily="34" charset="0"/>
              </a:rPr>
              <a:t> В. И. (концентрическая, 5-9 класс)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400" b="1" dirty="0">
                <a:latin typeface="Calibri" panose="020F0502020204030204" pitchFamily="34" charset="0"/>
              </a:rPr>
              <a:t>ФП № 1.2.5.2.5.1 – 1.2.5.2.5.5 </a:t>
            </a:r>
          </a:p>
        </p:txBody>
      </p:sp>
      <p:sp>
        <p:nvSpPr>
          <p:cNvPr id="77837" name="TextBox 7"/>
          <p:cNvSpPr txBox="1">
            <a:spLocks noChangeArrowheads="1"/>
          </p:cNvSpPr>
          <p:nvPr/>
        </p:nvSpPr>
        <p:spPr bwMode="auto">
          <a:xfrm>
            <a:off x="1075004" y="2682969"/>
            <a:ext cx="7421165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 dirty="0">
                <a:latin typeface="Calibri" pitchFamily="34" charset="0"/>
              </a:rPr>
              <a:t>Обе линии созданы в едином системном содержательном  подходе – концентрическом. Единая методическая концепция обеспечивает самый оптимальный  и продуктивный переход на УМК </a:t>
            </a:r>
            <a:r>
              <a:rPr lang="ru-RU" sz="1300" dirty="0" err="1">
                <a:latin typeface="Calibri" pitchFamily="34" charset="0"/>
              </a:rPr>
              <a:t>Сивоглазова</a:t>
            </a:r>
            <a:r>
              <a:rPr lang="ru-RU" sz="1300" dirty="0">
                <a:latin typeface="Calibri" pitchFamily="34" charset="0"/>
              </a:rPr>
              <a:t> В.И., в т.ч. и в 9 классе.  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147892" y="6402388"/>
            <a:ext cx="631031" cy="2159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2795588" y="6324878"/>
            <a:ext cx="857250" cy="369332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ики ФП 2018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068004" y="6324878"/>
            <a:ext cx="938213" cy="369332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ики ФП 201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4</a:t>
            </a:r>
            <a:endParaRPr lang="ru-RU" sz="9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19101" y="6402388"/>
            <a:ext cx="632222" cy="2159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8" name="Group 115"/>
          <p:cNvGrpSpPr/>
          <p:nvPr/>
        </p:nvGrpSpPr>
        <p:grpSpPr>
          <a:xfrm>
            <a:off x="3696724" y="1474899"/>
            <a:ext cx="352865" cy="630000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29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84406" tIns="42203" rIns="84406" bIns="42203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62">
                <a:latin typeface="+mn-lt"/>
                <a:cs typeface="+mn-cs"/>
              </a:endParaRPr>
            </a:p>
          </p:txBody>
        </p:sp>
        <p:sp>
          <p:nvSpPr>
            <p:cNvPr id="30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84406" tIns="42203" rIns="84406" bIns="42203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62">
                <a:latin typeface="+mn-lt"/>
                <a:cs typeface="+mn-cs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0" y="5688040"/>
            <a:ext cx="9144000" cy="422275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робные методические рекомендации и </a:t>
            </a:r>
            <a:r>
              <a:rPr lang="ru-RU" sz="13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ебинары</a:t>
            </a:r>
            <a:r>
              <a:rPr lang="ru-RU" sz="13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см. по ссылке: 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suchebnik.ru/fpu345</a:t>
            </a:r>
            <a:r>
              <a:rPr lang="ru-RU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ru-RU" sz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844" name="TextBox 27"/>
          <p:cNvSpPr txBox="1">
            <a:spLocks noChangeArrowheads="1"/>
          </p:cNvSpPr>
          <p:nvPr/>
        </p:nvSpPr>
        <p:spPr bwMode="auto">
          <a:xfrm>
            <a:off x="1030181" y="4260024"/>
            <a:ext cx="7421165" cy="1400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ru-RU" sz="1300" dirty="0">
                <a:latin typeface="Calibri" pitchFamily="34" charset="0"/>
              </a:rPr>
              <a:t>Учебники линии УМК </a:t>
            </a:r>
            <a:r>
              <a:rPr lang="ru-RU" sz="1300" dirty="0" err="1">
                <a:latin typeface="Calibri" pitchFamily="34" charset="0"/>
              </a:rPr>
              <a:t>Сивоглазова</a:t>
            </a:r>
            <a:r>
              <a:rPr lang="ru-RU" sz="1300" dirty="0">
                <a:latin typeface="Calibri" pitchFamily="34" charset="0"/>
              </a:rPr>
              <a:t> В.И. представляют новое поколение учебной литературы. Авторам удалось реализовать идею интеграции электронно-цифровых образовательных ресурсов с традиционным учебником и методическими материалами. Все компоненты связаны между собой системой навигации, что дает возможность научиться работать с разными источниками информации. Цветовая индикация терминов основного и дополнительного материала позволяет выстраивать индивидуальные образовательные маршруты, интегрировать все полиграфические и </a:t>
            </a:r>
            <a:r>
              <a:rPr lang="ru-RU" sz="1300" dirty="0" err="1">
                <a:latin typeface="Calibri" pitchFamily="34" charset="0"/>
              </a:rPr>
              <a:t>мультимедийные</a:t>
            </a:r>
            <a:r>
              <a:rPr lang="ru-RU" sz="1300" dirty="0">
                <a:latin typeface="Calibri" pitchFamily="34" charset="0"/>
              </a:rPr>
              <a:t> составляющие в единую систему.  </a:t>
            </a:r>
          </a:p>
        </p:txBody>
      </p:sp>
      <p:sp>
        <p:nvSpPr>
          <p:cNvPr id="77845" name="TextBox 30"/>
          <p:cNvSpPr txBox="1">
            <a:spLocks noChangeArrowheads="1"/>
          </p:cNvSpPr>
          <p:nvPr/>
        </p:nvSpPr>
        <p:spPr bwMode="auto">
          <a:xfrm>
            <a:off x="1039148" y="3419765"/>
            <a:ext cx="7421165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300" dirty="0">
                <a:latin typeface="Calibri" pitchFamily="34" charset="0"/>
              </a:rPr>
              <a:t>Оба УМК имеют единый методический подход, направленный на формирование как личностных, так и предметных образовательных результатов. Разработанная система вопросов и заданий направлена на самостоятельную учебную деятельность учащихся и способствует формированию метапредметных результатов. </a:t>
            </a:r>
          </a:p>
        </p:txBody>
      </p:sp>
      <p:pic>
        <p:nvPicPr>
          <p:cNvPr id="70670" name="Picture 14" descr="ÐÐ¸Ð¾Ð»Ð¾Ð³Ð¸Ñ. ÐÐ±ÑÐ¸Ðµ Ð·Ð°ÐºÐ¾Ð½Ð¾Ð¼ÐµÑÐ½Ð¾ÑÑÐ¸. 9 ÐºÐ»Ð°ÑÑ. Ð£ÑÐµÐ±Ð½Ð¸Ðº. (ÐÑÐ°ÑÐ½ÑÐ¹) ÐÐÐ Ð¢ÐÐÐÐÐ¬"/>
          <p:cNvPicPr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402564" y="1217616"/>
            <a:ext cx="598885" cy="112712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70673" name="Picture 17" descr="ÐÐ¸Ð¾Ð»Ð¾Ð³Ð¸Ñ. 8 ÐºÐ»Ð°ÑÑ. Ð£ÑÐµÐ±Ð½Ð¸Ðº (ÐÑÐ°ÑÐ½ÑÐ¹). ÐÐÐ Ð¢ÐÐÐÐÐ¬"/>
          <p:cNvPicPr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33477" y="1217616"/>
            <a:ext cx="600075" cy="112712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70675" name="Picture 19" descr="ÐÐ¸Ð¾Ð»Ð¾Ð³Ð¸Ñ. 7 ÐºÐ»Ð°ÑÑ. ÐÐ½Ð¾Ð³Ð¾Ð¾Ð±ÑÐ°Ð·Ð¸Ðµ Ð¶Ð¸Ð²ÑÑ Ð¾ÑÐ³Ð°Ð½Ð¸Ð·Ð¼Ð¾Ð². Ð£ÑÐµÐ±Ð½Ð¸Ðº"/>
          <p:cNvPicPr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65585" y="1217616"/>
            <a:ext cx="598884" cy="112712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70677" name="Picture 21" descr="ÐÐ¸Ð¾Ð»Ð¾Ð³Ð¸Ñ. 6 ÐºÐ». ÐÐ¸Ð²Ð¾Ð¹ Ð¾ÑÐ³Ð°Ð½Ð¸Ð·Ð¼. Ð£ÑÐµÐ±Ð½Ð¸Ðº (ÐÑÐ°ÑÐ½ÑÐ¹). ÐÐÐ Ð¢ÐÐÐÐÐ¬"/>
          <p:cNvPicPr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97707" y="1217616"/>
            <a:ext cx="598885" cy="112712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70679" name="Picture 23" descr="ÐÐ¸Ð¾Ð»Ð¾Ð³Ð¸Ñ. ÐÐ²ÐµÐ´ÐµÐ½Ð¸Ðµ Ð² Ð±Ð¸Ð¾Ð»Ð¾Ð³Ð¸Ñ. 5 ÐºÐ»Ð°ÑÑ. Ð£ÑÐµÐ±Ð½Ð¸Ðº. (ÐÑÐ°ÑÐ½ÑÐ¹). ÐÐÐ Ð¢ÐÐÐÐÐ¬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70338" y="1217616"/>
            <a:ext cx="758359" cy="112712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grpSp>
        <p:nvGrpSpPr>
          <p:cNvPr id="9" name="Группа 11"/>
          <p:cNvGrpSpPr>
            <a:grpSpLocks/>
          </p:cNvGrpSpPr>
          <p:nvPr/>
        </p:nvGrpSpPr>
        <p:grpSpPr bwMode="auto">
          <a:xfrm>
            <a:off x="107578" y="2706693"/>
            <a:ext cx="803252" cy="2630487"/>
            <a:chOff x="438445" y="2707353"/>
            <a:chExt cx="775480" cy="2630418"/>
          </a:xfrm>
        </p:grpSpPr>
        <p:sp>
          <p:nvSpPr>
            <p:cNvPr id="22" name="Овал 21"/>
            <p:cNvSpPr/>
            <p:nvPr/>
          </p:nvSpPr>
          <p:spPr>
            <a:xfrm>
              <a:off x="438445" y="2707353"/>
              <a:ext cx="775480" cy="776267"/>
            </a:xfrm>
            <a:prstGeom prst="ellipse">
              <a:avLst/>
            </a:prstGeom>
            <a:noFill/>
            <a:ln w="28575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3" name="Овал 22"/>
            <p:cNvSpPr/>
            <p:nvPr/>
          </p:nvSpPr>
          <p:spPr>
            <a:xfrm>
              <a:off x="438445" y="3586805"/>
              <a:ext cx="775480" cy="774680"/>
            </a:xfrm>
            <a:prstGeom prst="ellipse">
              <a:avLst/>
            </a:prstGeom>
            <a:noFill/>
            <a:ln w="28575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4" name="Овал 23"/>
            <p:cNvSpPr/>
            <p:nvPr/>
          </p:nvSpPr>
          <p:spPr>
            <a:xfrm>
              <a:off x="438445" y="4561504"/>
              <a:ext cx="775480" cy="776267"/>
            </a:xfrm>
            <a:prstGeom prst="ellipse">
              <a:avLst/>
            </a:prstGeom>
            <a:noFill/>
            <a:ln w="28575">
              <a:solidFill>
                <a:srgbClr val="2D349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dirty="0" err="1">
                <a:solidFill>
                  <a:schemeClr val="bg1"/>
                </a:solidFill>
              </a:endParaRPr>
            </a:p>
          </p:txBody>
        </p:sp>
        <p:pic>
          <p:nvPicPr>
            <p:cNvPr id="77858" name="Рисунок 24"/>
            <p:cNvPicPr>
              <a:picLocks noChangeAspect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591430" y="2875445"/>
              <a:ext cx="477927" cy="473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7859" name="Рисунок 31"/>
            <p:cNvPicPr>
              <a:picLocks noChangeAspect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95770" y="3758703"/>
              <a:ext cx="473587" cy="473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7860" name="Рисунок 9"/>
            <p:cNvPicPr>
              <a:picLocks noChangeAspect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541134" y="4740962"/>
              <a:ext cx="582858" cy="4181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43" name="Рисунок 42" descr="cover1_8kl.jp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5557079" y="1290923"/>
            <a:ext cx="670800" cy="1084729"/>
          </a:xfrm>
          <a:prstGeom prst="rect">
            <a:avLst/>
          </a:prstGeom>
          <a:ln w="31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2" name="Рисунок 41" descr="cover1_7kl.jp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5001950" y="1309028"/>
            <a:ext cx="797333" cy="1075765"/>
          </a:xfrm>
          <a:prstGeom prst="rect">
            <a:avLst/>
          </a:prstGeom>
          <a:ln w="31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31762" y="1296828"/>
            <a:ext cx="771164" cy="110589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40753" y="1314936"/>
            <a:ext cx="761484" cy="109880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546" name="Object 2"/>
          <p:cNvGraphicFramePr>
            <a:graphicFrameLocks noChangeAspect="1"/>
          </p:cNvGraphicFramePr>
          <p:nvPr/>
        </p:nvGraphicFramePr>
        <p:xfrm>
          <a:off x="1192" y="1608"/>
          <a:ext cx="1190" cy="1587"/>
        </p:xfrm>
        <a:graphic>
          <a:graphicData uri="http://schemas.openxmlformats.org/presentationml/2006/ole">
            <p:oleObj spid="_x0000_s389122" name="think-cell Slide" r:id="rId4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1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ts val="2100"/>
              </a:lnSpc>
              <a:defRPr/>
            </a:pPr>
            <a:endParaRPr lang="ru-RU" sz="20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3039666" y="4865715"/>
            <a:ext cx="6104334" cy="12588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3039666" y="875382"/>
            <a:ext cx="6104334" cy="35861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1215641" y="1943100"/>
            <a:ext cx="1338263" cy="4587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</a:rPr>
              <a:t>Линия УМК Пасечника (5-11 </a:t>
            </a:r>
            <a:r>
              <a:rPr lang="ru-RU" sz="1200" dirty="0" err="1">
                <a:solidFill>
                  <a:schemeClr val="tx1"/>
                </a:solidFill>
                <a:latin typeface="Calibri" panose="020F0502020204030204" pitchFamily="34" charset="0"/>
              </a:rPr>
              <a:t>кл</a:t>
            </a: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1240632" y="5195915"/>
            <a:ext cx="1160860" cy="4349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</a:rPr>
              <a:t>Линия УМК Сонина (</a:t>
            </a:r>
            <a:r>
              <a:rPr lang="ru-RU" sz="1200" dirty="0" err="1">
                <a:solidFill>
                  <a:schemeClr val="tx1"/>
                </a:solidFill>
                <a:latin typeface="Calibri" panose="020F0502020204030204" pitchFamily="34" charset="0"/>
              </a:rPr>
              <a:t>конц</a:t>
            </a: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</a:rPr>
              <a:t>.) (5-9 </a:t>
            </a:r>
            <a:r>
              <a:rPr lang="ru-RU" sz="1200" dirty="0" err="1">
                <a:solidFill>
                  <a:schemeClr val="tx1"/>
                </a:solidFill>
                <a:latin typeface="Calibri" panose="020F0502020204030204" pitchFamily="34" charset="0"/>
              </a:rPr>
              <a:t>кл</a:t>
            </a: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</a:rPr>
              <a:t>) 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1240632" y="3875089"/>
            <a:ext cx="1160860" cy="4603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</a:rPr>
              <a:t>Линия УМК Сонина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</a:rPr>
              <a:t>(</a:t>
            </a:r>
            <a:r>
              <a:rPr lang="ru-RU" sz="1200" dirty="0" err="1">
                <a:solidFill>
                  <a:schemeClr val="tx1"/>
                </a:solidFill>
                <a:latin typeface="Calibri" panose="020F0502020204030204" pitchFamily="34" charset="0"/>
              </a:rPr>
              <a:t>лин</a:t>
            </a: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</a:rPr>
              <a:t>.) (5-9 </a:t>
            </a:r>
            <a:r>
              <a:rPr lang="ru-RU" sz="1200" dirty="0" err="1">
                <a:solidFill>
                  <a:schemeClr val="tx1"/>
                </a:solidFill>
                <a:latin typeface="Calibri" panose="020F0502020204030204" pitchFamily="34" charset="0"/>
              </a:rPr>
              <a:t>кл</a:t>
            </a: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1213247" y="2547965"/>
            <a:ext cx="1343025" cy="5730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</a:rPr>
              <a:t>Линия УМК Суховой. Живая природа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</a:rPr>
              <a:t>(5-11 </a:t>
            </a:r>
            <a:r>
              <a:rPr lang="ru-RU" sz="1200" dirty="0" err="1">
                <a:solidFill>
                  <a:schemeClr val="tx1"/>
                </a:solidFill>
                <a:latin typeface="Calibri" panose="020F0502020204030204" pitchFamily="34" charset="0"/>
              </a:rPr>
              <a:t>кл</a:t>
            </a:r>
            <a:r>
              <a:rPr lang="ru-RU" sz="1200" dirty="0">
                <a:solidFill>
                  <a:schemeClr val="tx1"/>
                </a:solidFill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3918349" y="2133600"/>
            <a:ext cx="1584722" cy="514350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Линия УМК Пономаревой (</a:t>
            </a:r>
            <a:r>
              <a:rPr lang="ru-RU" sz="1200" b="1" dirty="0" err="1">
                <a:solidFill>
                  <a:schemeClr val="bg1"/>
                </a:solidFill>
                <a:latin typeface="Calibri" panose="020F0502020204030204" pitchFamily="34" charset="0"/>
              </a:rPr>
              <a:t>конц</a:t>
            </a:r>
            <a:r>
              <a:rPr lang="ru-RU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.) (5-11 </a:t>
            </a:r>
            <a:r>
              <a:rPr lang="ru-RU" sz="1200" b="1" dirty="0" err="1">
                <a:solidFill>
                  <a:schemeClr val="bg1"/>
                </a:solidFill>
                <a:latin typeface="Calibri" panose="020F0502020204030204" pitchFamily="34" charset="0"/>
              </a:rPr>
              <a:t>кл</a:t>
            </a:r>
            <a:r>
              <a:rPr lang="ru-RU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3918349" y="3673475"/>
            <a:ext cx="1584722" cy="514350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Линия УМК Пономаревой (</a:t>
            </a:r>
            <a:r>
              <a:rPr lang="ru-RU" sz="1200" b="1" dirty="0" err="1">
                <a:solidFill>
                  <a:schemeClr val="bg1"/>
                </a:solidFill>
                <a:latin typeface="Calibri" panose="020F0502020204030204" pitchFamily="34" charset="0"/>
              </a:rPr>
              <a:t>лин</a:t>
            </a:r>
            <a:r>
              <a:rPr lang="ru-RU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.) (5-11 </a:t>
            </a:r>
            <a:r>
              <a:rPr lang="ru-RU" sz="1200" b="1" dirty="0" err="1">
                <a:solidFill>
                  <a:schemeClr val="bg1"/>
                </a:solidFill>
                <a:latin typeface="Calibri" panose="020F0502020204030204" pitchFamily="34" charset="0"/>
              </a:rPr>
              <a:t>кл</a:t>
            </a:r>
            <a:r>
              <a:rPr lang="ru-RU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3918349" y="5116513"/>
            <a:ext cx="1584722" cy="514350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Линия УМК </a:t>
            </a:r>
            <a:r>
              <a:rPr lang="ru-RU" sz="1200" b="1" dirty="0" err="1">
                <a:solidFill>
                  <a:schemeClr val="bg1"/>
                </a:solidFill>
                <a:latin typeface="Calibri" panose="020F0502020204030204" pitchFamily="34" charset="0"/>
              </a:rPr>
              <a:t>Сивоглазова</a:t>
            </a:r>
            <a:r>
              <a:rPr lang="ru-RU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 (</a:t>
            </a:r>
            <a:r>
              <a:rPr lang="ru-RU" sz="1200" b="1" dirty="0" err="1">
                <a:solidFill>
                  <a:schemeClr val="bg1"/>
                </a:solidFill>
                <a:latin typeface="Calibri" panose="020F0502020204030204" pitchFamily="34" charset="0"/>
              </a:rPr>
              <a:t>конц</a:t>
            </a:r>
            <a:r>
              <a:rPr lang="ru-RU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.) (5-9 </a:t>
            </a:r>
            <a:r>
              <a:rPr lang="ru-RU" sz="1200" b="1" dirty="0" err="1">
                <a:solidFill>
                  <a:schemeClr val="bg1"/>
                </a:solidFill>
                <a:latin typeface="Calibri" panose="020F0502020204030204" pitchFamily="34" charset="0"/>
              </a:rPr>
              <a:t>кл</a:t>
            </a:r>
            <a:r>
              <a:rPr lang="ru-RU" sz="1200" b="1" dirty="0">
                <a:solidFill>
                  <a:schemeClr val="bg1"/>
                </a:solidFill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87" name="Прямоугольник 86"/>
          <p:cNvSpPr/>
          <p:nvPr/>
        </p:nvSpPr>
        <p:spPr>
          <a:xfrm>
            <a:off x="7135906" y="4939553"/>
            <a:ext cx="1786640" cy="924206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r>
              <a:rPr lang="ru-RU" sz="1200" b="1" dirty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Линия УМК </a:t>
            </a:r>
            <a:r>
              <a:rPr lang="ru-RU" sz="1200" b="1" dirty="0" err="1">
                <a:solidFill>
                  <a:schemeClr val="bg1"/>
                </a:solidFill>
                <a:latin typeface="Calibri" pitchFamily="34" charset="0"/>
                <a:cs typeface="Arial" charset="0"/>
              </a:rPr>
              <a:t>Сивоглазова</a:t>
            </a:r>
            <a:r>
              <a:rPr lang="ru-RU" sz="1200" b="1" dirty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 (10-11 </a:t>
            </a:r>
            <a:r>
              <a:rPr lang="ru-RU" sz="1200" b="1" dirty="0" err="1">
                <a:solidFill>
                  <a:schemeClr val="bg1"/>
                </a:solidFill>
                <a:latin typeface="Calibri" pitchFamily="34" charset="0"/>
                <a:cs typeface="Arial" charset="0"/>
              </a:rPr>
              <a:t>кл</a:t>
            </a:r>
            <a:r>
              <a:rPr lang="ru-RU" sz="1200" b="1" dirty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)</a:t>
            </a:r>
          </a:p>
          <a:p>
            <a:r>
              <a:rPr lang="ru-RU" sz="1200" b="1" dirty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ФП № 1.3.5.6.1.1-      1.3.5.6.1.2</a:t>
            </a:r>
          </a:p>
          <a:p>
            <a:endParaRPr lang="ru-RU" sz="1200" b="1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90" name="Picture 5" descr="C:\Users\Gabyash.DE\Desktop\cover1__w600 (11).jpg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379007" y="1855695"/>
            <a:ext cx="475817" cy="773224"/>
          </a:xfrm>
          <a:prstGeom prst="rect">
            <a:avLst/>
          </a:prstGeom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1" name="Picture 3" descr="C:\Users\Gabyash.DE\Desktop\cover1__w600 (9).jpg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10755" y="2009795"/>
            <a:ext cx="555182" cy="720725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2" name="Picture 28" descr="ÐÐ¸Ð¾Ð»Ð¾Ð³Ð¸Ñ. 9 ÐºÐ»Ð°ÑÑ. Ð§ÐµÐ»Ð¾Ð²ÐµÐº. Ð£ÑÐµÐ±Ð½Ð¸Ðº (Ð¡Ð¸Ð½Ð¸Ð¹). ÐÐÐ Ð¢ÐÐÐÐÐ¬"/>
          <p:cNvPicPr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5102" y="3720354"/>
            <a:ext cx="485133" cy="743702"/>
          </a:xfrm>
          <a:prstGeom prst="rect">
            <a:avLst/>
          </a:prstGeom>
          <a:noFill/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93" name="Picture 26" descr="ÐÐ¸Ð¾Ð»Ð¾Ð³Ð¸Ñ. ÐÐ²ÐµÐ´ÐµÐ½Ð¸Ðµ Ð² Ð±Ð¸Ð¾Ð»Ð¾Ð³Ð¸Ñ. 5 ÐºÐ»Ð°ÑÑ. (Ð¡Ð¸Ð½Ð¸Ð¹). ÐÐÐ Ð¢ÐÐÐÐÐ¬"/>
          <p:cNvPicPr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66165" y="3785256"/>
            <a:ext cx="526257" cy="720725"/>
          </a:xfrm>
          <a:prstGeom prst="rect">
            <a:avLst/>
          </a:prstGeom>
          <a:noFill/>
          <a:ln w="3175">
            <a:solidFill>
              <a:schemeClr val="bg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94" name="Picture 33" descr="ÐÐ¸Ð¾Ð»Ð¾Ð³Ð¸Ñ. ÐÐ±ÑÐ¸Ðµ Ð·Ð°ÐºÐ¾Ð½Ð¾Ð¼ÐµÑÐ½Ð¾ÑÑÐ¸. 9 ÐºÐ»Ð°ÑÑ. Ð£ÑÐµÐ±Ð½Ð¸Ðº. (ÐÑÐ°ÑÐ½ÑÐ¹) ÐÐÐ Ð¢ÐÐÐÐÐ¬"/>
          <p:cNvPicPr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25102" y="5038166"/>
            <a:ext cx="458239" cy="734012"/>
          </a:xfrm>
          <a:prstGeom prst="rect">
            <a:avLst/>
          </a:prstGeom>
          <a:noFill/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95" name="Picture 31" descr="ÐÐ¸Ð¾Ð»Ð¾Ð³Ð¸Ñ. ÐÐ²ÐµÐ´ÐµÐ½Ð¸Ðµ Ð² Ð±Ð¸Ð¾Ð»Ð¾Ð³Ð¸Ñ. 5 ÐºÐ»Ð°ÑÑ. Ð£ÑÐµÐ±Ð½Ð¸Ðº. (ÐÑÐ°ÑÐ½ÑÐ¹). ÐÐÐ Ð¢ÐÐÐÐÐ¬"/>
          <p:cNvPicPr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30319" y="5122890"/>
            <a:ext cx="553151" cy="719137"/>
          </a:xfrm>
          <a:prstGeom prst="rect">
            <a:avLst/>
          </a:prstGeom>
          <a:noFill/>
          <a:ln w="3175">
            <a:solidFill>
              <a:schemeClr val="bg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96" name="Picture 37" descr="ÐÐ¸Ð¾Ð»Ð¾Ð³Ð¸Ñ. 9 ÐºÐ»Ð°ÑÑ. ÐÐ²ÐµÐ´ÐµÐ½Ð¸Ðµ Ð² Ð¾Ð±ÑÑÑ Ð±Ð¸Ð¾Ð»Ð¾Ð³Ð¸Ñ. Ð£ÑÐµÐ±Ð½Ð¸Ðº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23913" y="1549400"/>
            <a:ext cx="450463" cy="719138"/>
          </a:xfrm>
          <a:prstGeom prst="rect">
            <a:avLst/>
          </a:prstGeom>
          <a:noFill/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97" name="Picture 35" descr="ÐÐ¸Ð¾Ð»Ð¾Ð³Ð¸Ñ. 5 ÐºÐ»Ð°ÑÑ. ÐÐ°ÐºÑÐµÑÐ¸Ð¸, Ð³ÑÐ¸Ð±Ñ, ÑÐ°ÑÑÐµÐ½Ð¸Ñ. Ð£ÑÐµÐ±Ð½Ð¸Ðº"/>
          <p:cNvPicPr>
            <a:picLocks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21342" y="1676400"/>
            <a:ext cx="531650" cy="720725"/>
          </a:xfrm>
          <a:prstGeom prst="rect">
            <a:avLst/>
          </a:prstGeom>
          <a:noFill/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98" name="Picture 43" descr="ÐÐ¸Ð¾Ð»Ð¾Ð³Ð¸Ñ. 9 Â ÐºÐ»Ð°ÑÑ. Ð£ÑÐµÐ±Ð½Ð¸Ðº"/>
          <p:cNvPicPr>
            <a:picLocks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383769" y="3505200"/>
            <a:ext cx="480019" cy="728663"/>
          </a:xfrm>
          <a:prstGeom prst="rect">
            <a:avLst/>
          </a:prstGeom>
          <a:noFill/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104" name="Picture 41" descr="ÐÐ¸Ð¾Ð»Ð¾Ð³Ð¸Ñ. 5-6Â ÐºÐ»Ð°ÑÑ. Ð£ÑÐµÐ±Ð½Ð¸Ðº."/>
          <p:cNvPicPr>
            <a:picLocks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101789" y="3611570"/>
            <a:ext cx="564147" cy="720725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/>
          </a:extLst>
        </p:spPr>
      </p:pic>
      <p:pic>
        <p:nvPicPr>
          <p:cNvPr id="105" name="Рисунок 35" descr="Биология. 9  класс. Учебник">
            <a:hlinkClick r:id="rId15" tooltip="&quot;Биология. 9  класс. Учебник&quot;"/>
          </p:cNvPr>
          <p:cNvPicPr>
            <a:picLocks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25102" y="2590800"/>
            <a:ext cx="458239" cy="736627"/>
          </a:xfrm>
          <a:prstGeom prst="rect">
            <a:avLst/>
          </a:prstGeom>
          <a:ln>
            <a:solidFill>
              <a:schemeClr val="bg2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106" name="Прямоугольник 105"/>
          <p:cNvSpPr/>
          <p:nvPr/>
        </p:nvSpPr>
        <p:spPr>
          <a:xfrm>
            <a:off x="7048501" y="2536825"/>
            <a:ext cx="1538288" cy="850900"/>
          </a:xfrm>
          <a:prstGeom prst="rect">
            <a:avLst/>
          </a:prstGeom>
          <a:solidFill>
            <a:srgbClr val="2D3494"/>
          </a:solidFill>
          <a:ln w="28575">
            <a:solidFill>
              <a:srgbClr val="2D3494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r>
              <a:rPr lang="ru-RU" sz="1200" b="1" dirty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Линия УМК Сонина  </a:t>
            </a:r>
          </a:p>
          <a:p>
            <a:r>
              <a:rPr lang="ru-RU" sz="1200" b="1" dirty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(10-11 </a:t>
            </a:r>
            <a:r>
              <a:rPr lang="ru-RU" sz="1200" b="1" dirty="0" err="1">
                <a:solidFill>
                  <a:schemeClr val="bg1"/>
                </a:solidFill>
                <a:latin typeface="Calibri" pitchFamily="34" charset="0"/>
                <a:cs typeface="Arial" charset="0"/>
              </a:rPr>
              <a:t>кл</a:t>
            </a:r>
            <a:r>
              <a:rPr lang="ru-RU" sz="1200" b="1" dirty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)</a:t>
            </a:r>
          </a:p>
          <a:p>
            <a:r>
              <a:rPr lang="ru-RU" sz="1200" b="1" dirty="0">
                <a:solidFill>
                  <a:schemeClr val="bg1"/>
                </a:solidFill>
                <a:latin typeface="Calibri" pitchFamily="34" charset="0"/>
                <a:cs typeface="Arial" charset="0"/>
              </a:rPr>
              <a:t>ФП № 1.3.5.6.6.1-      1.3.5.6.6.2</a:t>
            </a:r>
          </a:p>
          <a:p>
            <a:endParaRPr lang="ru-RU" sz="1200" b="1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110" name="Picture 6" descr="C:\Users\Gabyash.DE\Desktop\cover1__w600 (21).jpg"/>
          <p:cNvPicPr>
            <a:picLocks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543688" y="2653554"/>
            <a:ext cx="439818" cy="732612"/>
          </a:xfrm>
          <a:prstGeom prst="rect">
            <a:avLst/>
          </a:prstGeom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1" name="Picture 5" descr="C:\Users\Gabyash.DE\Desktop\cover1__w600 (20).jpg"/>
          <p:cNvPicPr>
            <a:picLocks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6293227" y="2825777"/>
            <a:ext cx="548108" cy="720725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4" name="Рисунок 113"/>
          <p:cNvPicPr>
            <a:picLocks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439272" y="2747990"/>
            <a:ext cx="544186" cy="719137"/>
          </a:xfrm>
          <a:prstGeom prst="rect">
            <a:avLst/>
          </a:prstGeom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0" name="Заголовок 1"/>
          <p:cNvSpPr txBox="1">
            <a:spLocks/>
          </p:cNvSpPr>
          <p:nvPr/>
        </p:nvSpPr>
        <p:spPr>
          <a:xfrm>
            <a:off x="960766" y="233923"/>
            <a:ext cx="7631906" cy="5762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400" dirty="0" smtClean="0">
                <a:latin typeface="+mj-lt"/>
              </a:rPr>
              <a:t>НАШИ РЕКОМЕНДАЦИИ ПО ПЕРЕХОДАМ НА УМК ПО </a:t>
            </a:r>
            <a:r>
              <a:rPr lang="ru-RU" sz="2400" dirty="0" smtClean="0">
                <a:solidFill>
                  <a:srgbClr val="FC0652"/>
                </a:solidFill>
                <a:latin typeface="+mj-lt"/>
              </a:rPr>
              <a:t>БИОЛОГИИ</a:t>
            </a:r>
            <a:endParaRPr lang="ru-RU" sz="2400" dirty="0">
              <a:solidFill>
                <a:srgbClr val="FC0652"/>
              </a:solidFill>
              <a:latin typeface="+mj-lt"/>
            </a:endParaRPr>
          </a:p>
        </p:txBody>
      </p:sp>
      <p:cxnSp>
        <p:nvCxnSpPr>
          <p:cNvPr id="108578" name="Прямая соединительная линия 65"/>
          <p:cNvCxnSpPr>
            <a:cxnSpLocks noChangeShapeType="1"/>
          </p:cNvCxnSpPr>
          <p:nvPr/>
        </p:nvCxnSpPr>
        <p:spPr bwMode="auto">
          <a:xfrm>
            <a:off x="5518561" y="5346700"/>
            <a:ext cx="622263" cy="5229"/>
          </a:xfrm>
          <a:prstGeom prst="line">
            <a:avLst/>
          </a:prstGeom>
          <a:noFill/>
          <a:ln w="12700">
            <a:solidFill>
              <a:srgbClr val="2D3494"/>
            </a:solidFill>
            <a:miter lim="800000"/>
            <a:headEnd/>
            <a:tailEnd type="triangle" w="med" len="med"/>
          </a:ln>
        </p:spPr>
      </p:cxnSp>
      <p:cxnSp>
        <p:nvCxnSpPr>
          <p:cNvPr id="108579" name="Соединительная линия уступом 6"/>
          <p:cNvCxnSpPr>
            <a:cxnSpLocks noChangeShapeType="1"/>
            <a:stCxn id="84" idx="3"/>
          </p:cNvCxnSpPr>
          <p:nvPr/>
        </p:nvCxnSpPr>
        <p:spPr bwMode="auto">
          <a:xfrm>
            <a:off x="5503069" y="2390775"/>
            <a:ext cx="784622" cy="79533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2D3494"/>
            </a:solidFill>
            <a:miter lim="800000"/>
            <a:headEnd/>
            <a:tailEnd type="triangle" w="med" len="med"/>
          </a:ln>
        </p:spPr>
      </p:cxnSp>
      <p:cxnSp>
        <p:nvCxnSpPr>
          <p:cNvPr id="108580" name="Соединительная линия уступом 8"/>
          <p:cNvCxnSpPr>
            <a:cxnSpLocks noChangeShapeType="1"/>
            <a:stCxn id="85" idx="3"/>
          </p:cNvCxnSpPr>
          <p:nvPr/>
        </p:nvCxnSpPr>
        <p:spPr bwMode="auto">
          <a:xfrm flipV="1">
            <a:off x="5503069" y="3182938"/>
            <a:ext cx="784622" cy="74771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2D3494"/>
            </a:solidFill>
            <a:miter lim="800000"/>
            <a:headEnd/>
            <a:tailEnd type="triangle" w="med" len="med"/>
          </a:ln>
        </p:spPr>
      </p:cxnSp>
      <p:sp>
        <p:nvSpPr>
          <p:cNvPr id="113" name="Прямоугольник 112"/>
          <p:cNvSpPr/>
          <p:nvPr/>
        </p:nvSpPr>
        <p:spPr>
          <a:xfrm>
            <a:off x="3049191" y="1108075"/>
            <a:ext cx="5436394" cy="33655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2D3494"/>
                </a:solidFill>
              </a:rPr>
              <a:t>ПРЕЕМСТВЕННЫЕ ЛИНИИ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2939653" y="6402388"/>
            <a:ext cx="632222" cy="2159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/>
          </a:p>
        </p:txBody>
      </p:sp>
      <p:sp>
        <p:nvSpPr>
          <p:cNvPr id="118" name="Прямоугольник 117"/>
          <p:cNvSpPr/>
          <p:nvPr/>
        </p:nvSpPr>
        <p:spPr>
          <a:xfrm>
            <a:off x="3588546" y="6324878"/>
            <a:ext cx="856060" cy="369332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ики ФП 2018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1068004" y="6255642"/>
            <a:ext cx="1871663" cy="507831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Учебные пособия. По запросу могут быть предоставлены учебники 2018 года</a:t>
            </a:r>
          </a:p>
        </p:txBody>
      </p:sp>
      <p:sp>
        <p:nvSpPr>
          <p:cNvPr id="120" name="Прямоугольник 119"/>
          <p:cNvSpPr/>
          <p:nvPr/>
        </p:nvSpPr>
        <p:spPr>
          <a:xfrm>
            <a:off x="419101" y="6402388"/>
            <a:ext cx="632222" cy="2159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121" name="Прямоугольник 120"/>
          <p:cNvSpPr/>
          <p:nvPr/>
        </p:nvSpPr>
        <p:spPr>
          <a:xfrm>
            <a:off x="552452" y="1119188"/>
            <a:ext cx="1849041" cy="33496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2D3494"/>
                </a:solidFill>
              </a:rPr>
              <a:t>ПЕРЕХОДЫ</a:t>
            </a:r>
          </a:p>
        </p:txBody>
      </p:sp>
      <p:grpSp>
        <p:nvGrpSpPr>
          <p:cNvPr id="5" name="Group 115"/>
          <p:cNvGrpSpPr/>
          <p:nvPr/>
        </p:nvGrpSpPr>
        <p:grpSpPr>
          <a:xfrm>
            <a:off x="2563160" y="2072309"/>
            <a:ext cx="352865" cy="630000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64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84406" tIns="42203" rIns="84406" bIns="422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62">
                <a:latin typeface="+mn-lt"/>
                <a:cs typeface="+mn-cs"/>
              </a:endParaRPr>
            </a:p>
          </p:txBody>
        </p:sp>
        <p:sp>
          <p:nvSpPr>
            <p:cNvPr id="65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84406" tIns="42203" rIns="84406" bIns="422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62">
                <a:latin typeface="+mn-lt"/>
                <a:cs typeface="+mn-cs"/>
              </a:endParaRPr>
            </a:p>
          </p:txBody>
        </p:sp>
      </p:grpSp>
      <p:grpSp>
        <p:nvGrpSpPr>
          <p:cNvPr id="6" name="Group 115"/>
          <p:cNvGrpSpPr/>
          <p:nvPr/>
        </p:nvGrpSpPr>
        <p:grpSpPr>
          <a:xfrm>
            <a:off x="2563160" y="3723309"/>
            <a:ext cx="352865" cy="630000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77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84406" tIns="42203" rIns="84406" bIns="422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62">
                <a:latin typeface="+mn-lt"/>
                <a:cs typeface="+mn-cs"/>
              </a:endParaRPr>
            </a:p>
          </p:txBody>
        </p:sp>
        <p:sp>
          <p:nvSpPr>
            <p:cNvPr id="78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84406" tIns="42203" rIns="84406" bIns="422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62">
                <a:latin typeface="+mn-lt"/>
                <a:cs typeface="+mn-cs"/>
              </a:endParaRPr>
            </a:p>
          </p:txBody>
        </p:sp>
      </p:grpSp>
      <p:grpSp>
        <p:nvGrpSpPr>
          <p:cNvPr id="7" name="Group 115"/>
          <p:cNvGrpSpPr/>
          <p:nvPr/>
        </p:nvGrpSpPr>
        <p:grpSpPr>
          <a:xfrm>
            <a:off x="2563160" y="5069509"/>
            <a:ext cx="352865" cy="630000"/>
            <a:chOff x="4259263" y="5543551"/>
            <a:chExt cx="244475" cy="304800"/>
          </a:xfrm>
          <a:solidFill>
            <a:srgbClr val="2D3494"/>
          </a:solidFill>
        </p:grpSpPr>
        <p:sp>
          <p:nvSpPr>
            <p:cNvPr id="88" name="Freeform 35"/>
            <p:cNvSpPr>
              <a:spLocks/>
            </p:cNvSpPr>
            <p:nvPr/>
          </p:nvSpPr>
          <p:spPr bwMode="auto">
            <a:xfrm>
              <a:off x="43354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84406" tIns="42203" rIns="84406" bIns="422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62">
                <a:latin typeface="+mn-lt"/>
                <a:cs typeface="+mn-cs"/>
              </a:endParaRPr>
            </a:p>
          </p:txBody>
        </p:sp>
        <p:sp>
          <p:nvSpPr>
            <p:cNvPr id="89" name="Freeform 36"/>
            <p:cNvSpPr>
              <a:spLocks/>
            </p:cNvSpPr>
            <p:nvPr/>
          </p:nvSpPr>
          <p:spPr bwMode="auto">
            <a:xfrm>
              <a:off x="4259263" y="5543551"/>
              <a:ext cx="168275" cy="304800"/>
            </a:xfrm>
            <a:custGeom>
              <a:avLst/>
              <a:gdLst>
                <a:gd name="T0" fmla="*/ 29 w 106"/>
                <a:gd name="T1" fmla="*/ 0 h 192"/>
                <a:gd name="T2" fmla="*/ 0 w 106"/>
                <a:gd name="T3" fmla="*/ 0 h 192"/>
                <a:gd name="T4" fmla="*/ 77 w 106"/>
                <a:gd name="T5" fmla="*/ 96 h 192"/>
                <a:gd name="T6" fmla="*/ 0 w 106"/>
                <a:gd name="T7" fmla="*/ 192 h 192"/>
                <a:gd name="T8" fmla="*/ 29 w 106"/>
                <a:gd name="T9" fmla="*/ 192 h 192"/>
                <a:gd name="T10" fmla="*/ 106 w 106"/>
                <a:gd name="T11" fmla="*/ 96 h 192"/>
                <a:gd name="T12" fmla="*/ 29 w 106"/>
                <a:gd name="T1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92">
                  <a:moveTo>
                    <a:pt x="29" y="0"/>
                  </a:moveTo>
                  <a:lnTo>
                    <a:pt x="0" y="0"/>
                  </a:lnTo>
                  <a:lnTo>
                    <a:pt x="77" y="96"/>
                  </a:lnTo>
                  <a:lnTo>
                    <a:pt x="0" y="192"/>
                  </a:lnTo>
                  <a:lnTo>
                    <a:pt x="29" y="192"/>
                  </a:lnTo>
                  <a:lnTo>
                    <a:pt x="106" y="96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84406" tIns="42203" rIns="84406" bIns="42203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62">
                <a:latin typeface="+mn-lt"/>
                <a:cs typeface="+mn-cs"/>
              </a:endParaRPr>
            </a:p>
          </p:txBody>
        </p:sp>
      </p:grpSp>
      <p:grpSp>
        <p:nvGrpSpPr>
          <p:cNvPr id="8" name="Группа 66"/>
          <p:cNvGrpSpPr>
            <a:grpSpLocks/>
          </p:cNvGrpSpPr>
          <p:nvPr/>
        </p:nvGrpSpPr>
        <p:grpSpPr bwMode="auto">
          <a:xfrm>
            <a:off x="8453719" y="2259128"/>
            <a:ext cx="555812" cy="500875"/>
            <a:chOff x="8680821" y="529995"/>
            <a:chExt cx="474669" cy="444349"/>
          </a:xfrm>
        </p:grpSpPr>
        <p:sp>
          <p:nvSpPr>
            <p:cNvPr id="68" name="object 26"/>
            <p:cNvSpPr/>
            <p:nvPr/>
          </p:nvSpPr>
          <p:spPr>
            <a:xfrm>
              <a:off x="8680821" y="529995"/>
              <a:ext cx="474669" cy="444349"/>
            </a:xfrm>
            <a:custGeom>
              <a:avLst/>
              <a:gdLst/>
              <a:ahLst/>
              <a:cxnLst/>
              <a:rect l="l" t="t" r="r" b="b"/>
              <a:pathLst>
                <a:path w="576579" h="539750">
                  <a:moveTo>
                    <a:pt x="288163" y="0"/>
                  </a:moveTo>
                  <a:lnTo>
                    <a:pt x="241425" y="3530"/>
                  </a:lnTo>
                  <a:lnTo>
                    <a:pt x="197087" y="13753"/>
                  </a:lnTo>
                  <a:lnTo>
                    <a:pt x="155743" y="30113"/>
                  </a:lnTo>
                  <a:lnTo>
                    <a:pt x="117985" y="52055"/>
                  </a:lnTo>
                  <a:lnTo>
                    <a:pt x="84407" y="79025"/>
                  </a:lnTo>
                  <a:lnTo>
                    <a:pt x="55603" y="110468"/>
                  </a:lnTo>
                  <a:lnTo>
                    <a:pt x="32167" y="145829"/>
                  </a:lnTo>
                  <a:lnTo>
                    <a:pt x="14692" y="184554"/>
                  </a:lnTo>
                  <a:lnTo>
                    <a:pt x="3772" y="226087"/>
                  </a:lnTo>
                  <a:lnTo>
                    <a:pt x="0" y="269875"/>
                  </a:lnTo>
                  <a:lnTo>
                    <a:pt x="3772" y="313662"/>
                  </a:lnTo>
                  <a:lnTo>
                    <a:pt x="14692" y="355195"/>
                  </a:lnTo>
                  <a:lnTo>
                    <a:pt x="32167" y="393920"/>
                  </a:lnTo>
                  <a:lnTo>
                    <a:pt x="55603" y="429281"/>
                  </a:lnTo>
                  <a:lnTo>
                    <a:pt x="84407" y="460724"/>
                  </a:lnTo>
                  <a:lnTo>
                    <a:pt x="117985" y="487694"/>
                  </a:lnTo>
                  <a:lnTo>
                    <a:pt x="155743" y="509636"/>
                  </a:lnTo>
                  <a:lnTo>
                    <a:pt x="197087" y="525996"/>
                  </a:lnTo>
                  <a:lnTo>
                    <a:pt x="241425" y="536219"/>
                  </a:lnTo>
                  <a:lnTo>
                    <a:pt x="288163" y="539750"/>
                  </a:lnTo>
                  <a:lnTo>
                    <a:pt x="334900" y="536219"/>
                  </a:lnTo>
                  <a:lnTo>
                    <a:pt x="379238" y="525996"/>
                  </a:lnTo>
                  <a:lnTo>
                    <a:pt x="420582" y="509636"/>
                  </a:lnTo>
                  <a:lnTo>
                    <a:pt x="458340" y="487694"/>
                  </a:lnTo>
                  <a:lnTo>
                    <a:pt x="491918" y="460724"/>
                  </a:lnTo>
                  <a:lnTo>
                    <a:pt x="520722" y="429281"/>
                  </a:lnTo>
                  <a:lnTo>
                    <a:pt x="544158" y="393920"/>
                  </a:lnTo>
                  <a:lnTo>
                    <a:pt x="561633" y="355195"/>
                  </a:lnTo>
                  <a:lnTo>
                    <a:pt x="572553" y="313662"/>
                  </a:lnTo>
                  <a:lnTo>
                    <a:pt x="576326" y="269875"/>
                  </a:lnTo>
                  <a:lnTo>
                    <a:pt x="572553" y="226087"/>
                  </a:lnTo>
                  <a:lnTo>
                    <a:pt x="561633" y="184554"/>
                  </a:lnTo>
                  <a:lnTo>
                    <a:pt x="544158" y="145829"/>
                  </a:lnTo>
                  <a:lnTo>
                    <a:pt x="520722" y="110468"/>
                  </a:lnTo>
                  <a:lnTo>
                    <a:pt x="491918" y="79025"/>
                  </a:lnTo>
                  <a:lnTo>
                    <a:pt x="458340" y="52055"/>
                  </a:lnTo>
                  <a:lnTo>
                    <a:pt x="420582" y="30113"/>
                  </a:lnTo>
                  <a:lnTo>
                    <a:pt x="379238" y="13753"/>
                  </a:lnTo>
                  <a:lnTo>
                    <a:pt x="334900" y="3530"/>
                  </a:lnTo>
                  <a:lnTo>
                    <a:pt x="288163" y="0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2D3494"/>
              </a:solidFill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0" h="0"/>
            </a:sp3d>
          </p:spPr>
          <p:txBody>
            <a:bodyPr lIns="0" tIns="0" rIns="0" bIns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>
                <a:latin typeface="+mn-lt"/>
                <a:cs typeface="+mn-cs"/>
              </a:endParaRPr>
            </a:p>
          </p:txBody>
        </p:sp>
        <p:sp>
          <p:nvSpPr>
            <p:cNvPr id="69" name="object 28"/>
            <p:cNvSpPr txBox="1"/>
            <p:nvPr/>
          </p:nvSpPr>
          <p:spPr>
            <a:xfrm>
              <a:off x="8825085" y="553614"/>
              <a:ext cx="174709" cy="338459"/>
            </a:xfrm>
            <a:prstGeom prst="rect">
              <a:avLst/>
            </a:prstGeom>
          </p:spPr>
          <p:txBody>
            <a:bodyPr lIns="0" tIns="12065" rIns="0" bIns="0">
              <a:spAutoFit/>
            </a:bodyPr>
            <a:lstStyle/>
            <a:p>
              <a:pPr marL="12700" fontAlgn="auto">
                <a:spcBef>
                  <a:spcPts val="95"/>
                </a:spcBef>
                <a:spcAft>
                  <a:spcPts val="0"/>
                </a:spcAft>
                <a:defRPr/>
              </a:pPr>
              <a:r>
                <a:rPr lang="ru-RU" sz="2400" b="1" spc="-305" dirty="0">
                  <a:solidFill>
                    <a:srgbClr val="2D3494"/>
                  </a:solidFill>
                  <a:latin typeface="Calibri" panose="020F0502020204030204" pitchFamily="34" charset="0"/>
                  <a:cs typeface="Arial"/>
                </a:rPr>
                <a:t>Б</a:t>
              </a:r>
              <a:r>
                <a:rPr lang="ru-RU" sz="2400" spc="-305" dirty="0">
                  <a:solidFill>
                    <a:srgbClr val="2D3494"/>
                  </a:solidFill>
                  <a:latin typeface="+mj-lt"/>
                  <a:cs typeface="Arial"/>
                </a:rPr>
                <a:t> </a:t>
              </a:r>
              <a:endParaRPr sz="2400" dirty="0">
                <a:solidFill>
                  <a:srgbClr val="2D3494"/>
                </a:solidFill>
                <a:latin typeface="+mj-lt"/>
                <a:cs typeface="Arial"/>
              </a:endParaRPr>
            </a:p>
          </p:txBody>
        </p:sp>
      </p:grpSp>
      <p:grpSp>
        <p:nvGrpSpPr>
          <p:cNvPr id="9" name="Группа 69"/>
          <p:cNvGrpSpPr>
            <a:grpSpLocks/>
          </p:cNvGrpSpPr>
          <p:nvPr/>
        </p:nvGrpSpPr>
        <p:grpSpPr bwMode="auto">
          <a:xfrm>
            <a:off x="8390976" y="4613041"/>
            <a:ext cx="636539" cy="803470"/>
            <a:chOff x="3165173" y="951958"/>
            <a:chExt cx="874925" cy="802906"/>
          </a:xfrm>
        </p:grpSpPr>
        <p:sp>
          <p:nvSpPr>
            <p:cNvPr id="71" name="object 26"/>
            <p:cNvSpPr/>
            <p:nvPr/>
          </p:nvSpPr>
          <p:spPr>
            <a:xfrm>
              <a:off x="3165173" y="951958"/>
              <a:ext cx="874925" cy="493749"/>
            </a:xfrm>
            <a:custGeom>
              <a:avLst/>
              <a:gdLst/>
              <a:ahLst/>
              <a:cxnLst/>
              <a:rect l="l" t="t" r="r" b="b"/>
              <a:pathLst>
                <a:path w="576579" h="539750">
                  <a:moveTo>
                    <a:pt x="288163" y="0"/>
                  </a:moveTo>
                  <a:lnTo>
                    <a:pt x="241425" y="3530"/>
                  </a:lnTo>
                  <a:lnTo>
                    <a:pt x="197087" y="13753"/>
                  </a:lnTo>
                  <a:lnTo>
                    <a:pt x="155743" y="30113"/>
                  </a:lnTo>
                  <a:lnTo>
                    <a:pt x="117985" y="52055"/>
                  </a:lnTo>
                  <a:lnTo>
                    <a:pt x="84407" y="79025"/>
                  </a:lnTo>
                  <a:lnTo>
                    <a:pt x="55603" y="110468"/>
                  </a:lnTo>
                  <a:lnTo>
                    <a:pt x="32167" y="145829"/>
                  </a:lnTo>
                  <a:lnTo>
                    <a:pt x="14692" y="184554"/>
                  </a:lnTo>
                  <a:lnTo>
                    <a:pt x="3772" y="226087"/>
                  </a:lnTo>
                  <a:lnTo>
                    <a:pt x="0" y="269875"/>
                  </a:lnTo>
                  <a:lnTo>
                    <a:pt x="3772" y="313662"/>
                  </a:lnTo>
                  <a:lnTo>
                    <a:pt x="14692" y="355195"/>
                  </a:lnTo>
                  <a:lnTo>
                    <a:pt x="32167" y="393920"/>
                  </a:lnTo>
                  <a:lnTo>
                    <a:pt x="55603" y="429281"/>
                  </a:lnTo>
                  <a:lnTo>
                    <a:pt x="84407" y="460724"/>
                  </a:lnTo>
                  <a:lnTo>
                    <a:pt x="117985" y="487694"/>
                  </a:lnTo>
                  <a:lnTo>
                    <a:pt x="155743" y="509636"/>
                  </a:lnTo>
                  <a:lnTo>
                    <a:pt x="197087" y="525996"/>
                  </a:lnTo>
                  <a:lnTo>
                    <a:pt x="241425" y="536219"/>
                  </a:lnTo>
                  <a:lnTo>
                    <a:pt x="288163" y="539750"/>
                  </a:lnTo>
                  <a:lnTo>
                    <a:pt x="334900" y="536219"/>
                  </a:lnTo>
                  <a:lnTo>
                    <a:pt x="379238" y="525996"/>
                  </a:lnTo>
                  <a:lnTo>
                    <a:pt x="420582" y="509636"/>
                  </a:lnTo>
                  <a:lnTo>
                    <a:pt x="458340" y="487694"/>
                  </a:lnTo>
                  <a:lnTo>
                    <a:pt x="491918" y="460724"/>
                  </a:lnTo>
                  <a:lnTo>
                    <a:pt x="520722" y="429281"/>
                  </a:lnTo>
                  <a:lnTo>
                    <a:pt x="544158" y="393920"/>
                  </a:lnTo>
                  <a:lnTo>
                    <a:pt x="561633" y="355195"/>
                  </a:lnTo>
                  <a:lnTo>
                    <a:pt x="572553" y="313662"/>
                  </a:lnTo>
                  <a:lnTo>
                    <a:pt x="576326" y="269875"/>
                  </a:lnTo>
                  <a:lnTo>
                    <a:pt x="572553" y="226087"/>
                  </a:lnTo>
                  <a:lnTo>
                    <a:pt x="561633" y="184554"/>
                  </a:lnTo>
                  <a:lnTo>
                    <a:pt x="544158" y="145829"/>
                  </a:lnTo>
                  <a:lnTo>
                    <a:pt x="520722" y="110468"/>
                  </a:lnTo>
                  <a:lnTo>
                    <a:pt x="491918" y="79025"/>
                  </a:lnTo>
                  <a:lnTo>
                    <a:pt x="458340" y="52055"/>
                  </a:lnTo>
                  <a:lnTo>
                    <a:pt x="420582" y="30113"/>
                  </a:lnTo>
                  <a:lnTo>
                    <a:pt x="379238" y="13753"/>
                  </a:lnTo>
                  <a:lnTo>
                    <a:pt x="334900" y="3530"/>
                  </a:lnTo>
                  <a:lnTo>
                    <a:pt x="288163" y="0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rgbClr val="2D3494"/>
              </a:solidFill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0" h="0"/>
            </a:sp3d>
          </p:spPr>
          <p:txBody>
            <a:bodyPr lIns="0" tIns="0" rIns="0" bIns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>
                <a:latin typeface="+mn-lt"/>
                <a:cs typeface="+mn-cs"/>
              </a:endParaRPr>
            </a:p>
          </p:txBody>
        </p:sp>
        <p:sp>
          <p:nvSpPr>
            <p:cNvPr id="72" name="object 28"/>
            <p:cNvSpPr txBox="1"/>
            <p:nvPr/>
          </p:nvSpPr>
          <p:spPr>
            <a:xfrm>
              <a:off x="3319326" y="1004544"/>
              <a:ext cx="174577" cy="750320"/>
            </a:xfrm>
            <a:prstGeom prst="rect">
              <a:avLst/>
            </a:prstGeom>
          </p:spPr>
          <p:txBody>
            <a:bodyPr lIns="0" tIns="12065" rIns="0" bIns="0">
              <a:spAutoFit/>
            </a:bodyPr>
            <a:lstStyle/>
            <a:p>
              <a:pPr marL="12700" fontAlgn="auto">
                <a:spcBef>
                  <a:spcPts val="95"/>
                </a:spcBef>
                <a:spcAft>
                  <a:spcPts val="0"/>
                </a:spcAft>
                <a:defRPr/>
              </a:pPr>
              <a:r>
                <a:rPr lang="ru-RU" sz="2400" b="1" spc="-305" dirty="0">
                  <a:solidFill>
                    <a:srgbClr val="2D3494"/>
                  </a:solidFill>
                  <a:latin typeface="Calibri" panose="020F0502020204030204" pitchFamily="34" charset="0"/>
                  <a:cs typeface="Arial"/>
                </a:rPr>
                <a:t>Б </a:t>
              </a:r>
              <a:endParaRPr sz="2400" b="1" spc="-305" dirty="0">
                <a:solidFill>
                  <a:srgbClr val="2D3494"/>
                </a:solidFill>
                <a:latin typeface="Calibri" panose="020F0502020204030204" pitchFamily="34" charset="0"/>
                <a:cs typeface="Arial"/>
              </a:endParaRPr>
            </a:p>
          </p:txBody>
        </p:sp>
        <p:sp>
          <p:nvSpPr>
            <p:cNvPr id="73" name="object 28"/>
            <p:cNvSpPr txBox="1"/>
            <p:nvPr/>
          </p:nvSpPr>
          <p:spPr>
            <a:xfrm>
              <a:off x="3719266" y="1004544"/>
              <a:ext cx="174577" cy="377560"/>
            </a:xfrm>
            <a:prstGeom prst="rect">
              <a:avLst/>
            </a:prstGeom>
          </p:spPr>
          <p:txBody>
            <a:bodyPr lIns="0" tIns="12065" rIns="0" bIns="0">
              <a:spAutoFit/>
            </a:bodyPr>
            <a:lstStyle/>
            <a:p>
              <a:pPr marL="12700" fontAlgn="auto">
                <a:spcBef>
                  <a:spcPts val="95"/>
                </a:spcBef>
                <a:spcAft>
                  <a:spcPts val="0"/>
                </a:spcAft>
                <a:defRPr/>
              </a:pPr>
              <a:r>
                <a:rPr lang="ru-RU" sz="2400" b="1" spc="-305" dirty="0">
                  <a:solidFill>
                    <a:srgbClr val="2D3494"/>
                  </a:solidFill>
                  <a:latin typeface="Calibri" panose="020F0502020204030204" pitchFamily="34" charset="0"/>
                  <a:cs typeface="Arial"/>
                </a:rPr>
                <a:t>У</a:t>
              </a:r>
              <a:endParaRPr sz="2400" b="1" dirty="0">
                <a:solidFill>
                  <a:srgbClr val="2D3494"/>
                </a:solidFill>
                <a:latin typeface="Calibri" panose="020F0502020204030204" pitchFamily="34" charset="0"/>
                <a:cs typeface="Arial"/>
              </a:endParaRPr>
            </a:p>
          </p:txBody>
        </p:sp>
        <p:sp>
          <p:nvSpPr>
            <p:cNvPr id="74" name="object 28"/>
            <p:cNvSpPr txBox="1"/>
            <p:nvPr/>
          </p:nvSpPr>
          <p:spPr>
            <a:xfrm>
              <a:off x="3524058" y="995026"/>
              <a:ext cx="174577" cy="377560"/>
            </a:xfrm>
            <a:prstGeom prst="rect">
              <a:avLst/>
            </a:prstGeom>
          </p:spPr>
          <p:txBody>
            <a:bodyPr lIns="0" tIns="12065" rIns="0" bIns="0">
              <a:spAutoFit/>
            </a:bodyPr>
            <a:lstStyle/>
            <a:p>
              <a:pPr marL="12700" fontAlgn="auto">
                <a:spcBef>
                  <a:spcPts val="95"/>
                </a:spcBef>
                <a:spcAft>
                  <a:spcPts val="0"/>
                </a:spcAft>
                <a:defRPr/>
              </a:pPr>
              <a:r>
                <a:rPr lang="ru-RU" sz="2400" b="1" spc="-305" dirty="0">
                  <a:solidFill>
                    <a:srgbClr val="2D3494"/>
                  </a:solidFill>
                  <a:latin typeface="Calibri" panose="020F0502020204030204" pitchFamily="34" charset="0"/>
                  <a:cs typeface="Arial"/>
                </a:rPr>
                <a:t>+</a:t>
              </a:r>
              <a:r>
                <a:rPr lang="ru-RU" sz="2400" spc="-305" dirty="0">
                  <a:solidFill>
                    <a:srgbClr val="2D3494"/>
                  </a:solidFill>
                  <a:latin typeface="+mj-lt"/>
                  <a:cs typeface="Arial"/>
                </a:rPr>
                <a:t> </a:t>
              </a:r>
              <a:endParaRPr sz="2400" dirty="0">
                <a:solidFill>
                  <a:srgbClr val="2D3494"/>
                </a:solidFill>
                <a:latin typeface="+mj-lt"/>
                <a:cs typeface="Arial"/>
              </a:endParaRPr>
            </a:p>
          </p:txBody>
        </p:sp>
      </p:grpSp>
      <p:cxnSp>
        <p:nvCxnSpPr>
          <p:cNvPr id="108606" name="Прямая соединительная линия 7"/>
          <p:cNvCxnSpPr>
            <a:cxnSpLocks noChangeShapeType="1"/>
          </p:cNvCxnSpPr>
          <p:nvPr/>
        </p:nvCxnSpPr>
        <p:spPr bwMode="auto">
          <a:xfrm>
            <a:off x="5897166" y="3930650"/>
            <a:ext cx="0" cy="1416050"/>
          </a:xfrm>
          <a:prstGeom prst="line">
            <a:avLst/>
          </a:prstGeom>
          <a:noFill/>
          <a:ln w="9525">
            <a:solidFill>
              <a:srgbClr val="2D3494"/>
            </a:solidFill>
            <a:miter lim="800000"/>
            <a:headEnd/>
            <a:tailEnd/>
          </a:ln>
        </p:spPr>
      </p:cxnSp>
      <p:pic>
        <p:nvPicPr>
          <p:cNvPr id="67" name="Рисунок 66" descr="cover1_9kl.jp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3262442" y="4894729"/>
            <a:ext cx="563546" cy="789435"/>
          </a:xfrm>
          <a:prstGeom prst="rect">
            <a:avLst/>
          </a:prstGeom>
          <a:ln w="31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6" name="Рисунок 65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82917" y="5032869"/>
            <a:ext cx="558142" cy="80538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5" name="Рисунок 74" descr="cover1_11kl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6543661" y="4614047"/>
            <a:ext cx="548634" cy="791671"/>
          </a:xfrm>
          <a:prstGeom prst="rect">
            <a:avLst/>
          </a:prstGeom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0" name="Рисунок 69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196506" y="4934364"/>
            <a:ext cx="562882" cy="785120"/>
          </a:xfrm>
          <a:prstGeom prst="rect">
            <a:avLst/>
          </a:prstGeom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endParaRPr lang="ru-RU" sz="2800" dirty="0"/>
          </a:p>
        </p:txBody>
      </p:sp>
      <p:sp>
        <p:nvSpPr>
          <p:cNvPr id="43" name="Текст 42"/>
          <p:cNvSpPr>
            <a:spLocks noGrp="1"/>
          </p:cNvSpPr>
          <p:nvPr>
            <p:ph type="body" sz="half" idx="19"/>
          </p:nvPr>
        </p:nvSpPr>
        <p:spPr>
          <a:xfrm>
            <a:off x="6902824" y="1044135"/>
            <a:ext cx="1855476" cy="576064"/>
          </a:xfrm>
        </p:spPr>
        <p:txBody>
          <a:bodyPr>
            <a:noAutofit/>
          </a:bodyPr>
          <a:lstStyle/>
          <a:p>
            <a:r>
              <a:rPr lang="ru-RU" sz="1500" b="1" dirty="0" smtClean="0"/>
              <a:t>Базовый уровень.</a:t>
            </a:r>
          </a:p>
          <a:p>
            <a:r>
              <a:rPr lang="ru-RU" sz="1500" dirty="0" err="1" smtClean="0"/>
              <a:t>Естествознание.</a:t>
            </a:r>
          </a:p>
          <a:p>
            <a:r>
              <a:rPr lang="ru-RU" sz="1500" dirty="0" err="1" smtClean="0"/>
              <a:t>Экология.</a:t>
            </a:r>
          </a:p>
        </p:txBody>
      </p:sp>
      <p:sp>
        <p:nvSpPr>
          <p:cNvPr id="51" name="Текст 50"/>
          <p:cNvSpPr>
            <a:spLocks noGrp="1"/>
          </p:cNvSpPr>
          <p:nvPr>
            <p:ph type="body" sz="half" idx="22"/>
          </p:nvPr>
        </p:nvSpPr>
        <p:spPr>
          <a:xfrm>
            <a:off x="4770095" y="5329553"/>
            <a:ext cx="2160240" cy="631976"/>
          </a:xfrm>
        </p:spPr>
        <p:txBody>
          <a:bodyPr>
            <a:noAutofit/>
          </a:bodyPr>
          <a:lstStyle/>
          <a:p>
            <a:r>
              <a:rPr lang="ru-RU" sz="1500" dirty="0" smtClean="0"/>
              <a:t>Агафонова И.Б </a:t>
            </a:r>
            <a:r>
              <a:rPr lang="ru-RU" sz="1500" dirty="0" err="1" smtClean="0"/>
              <a:t>Сивоглазов</a:t>
            </a:r>
            <a:r>
              <a:rPr lang="ru-RU" sz="1500" dirty="0" smtClean="0"/>
              <a:t> В.И</a:t>
            </a:r>
          </a:p>
          <a:p>
            <a:r>
              <a:rPr lang="ru-RU" sz="1500" b="1" dirty="0" smtClean="0"/>
              <a:t>Базовый и углубленный</a:t>
            </a:r>
          </a:p>
          <a:p>
            <a:r>
              <a:rPr lang="ru-RU" sz="1500" b="1" dirty="0" smtClean="0"/>
              <a:t>           уровень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187625" y="224646"/>
            <a:ext cx="662473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accent1">
                    <a:lumMod val="75000"/>
                  </a:schemeClr>
                </a:solidFill>
              </a:rPr>
              <a:t>Схемы  комплектования </a:t>
            </a:r>
          </a:p>
          <a:p>
            <a:pPr algn="ctr"/>
            <a:r>
              <a:rPr lang="ru-RU" sz="4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мы  комплектования </a:t>
            </a:r>
            <a:endParaRPr lang="ru-RU" sz="40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50" name="Прямая со стрелкой 49"/>
          <p:cNvCxnSpPr/>
          <p:nvPr/>
        </p:nvCxnSpPr>
        <p:spPr>
          <a:xfrm>
            <a:off x="2555776" y="2420888"/>
            <a:ext cx="1080120" cy="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/>
          <p:nvPr/>
        </p:nvCxnSpPr>
        <p:spPr>
          <a:xfrm>
            <a:off x="2627784" y="3068960"/>
            <a:ext cx="1080120" cy="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/>
          <p:nvPr/>
        </p:nvCxnSpPr>
        <p:spPr>
          <a:xfrm>
            <a:off x="2627784" y="3717032"/>
            <a:ext cx="1080120" cy="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>
            <a:off x="2555776" y="4293096"/>
            <a:ext cx="1080120" cy="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2411760" y="4869160"/>
            <a:ext cx="1080120" cy="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 descr="Общая биология. 11 класс. Учебник. Базовый уровень. (Красный). ВЕРТИКАЛЬ">
            <a:hlinkClick r:id="rId2" tooltip="&quot;Общая биология. 11 класс. Учебник. Базовый уровень. (Красный). ВЕРТИКАЛЬ&quot;"/>
          </p:cNvPr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44345" y="1326777"/>
            <a:ext cx="1141420" cy="1545830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25" name="Рисунок 24" descr="Общая биология. 10 класс. Учебник. Базовый уровень. ВЕРТИКАЛЬ">
            <a:hlinkClick r:id="rId4" tooltip="&quot;Общая биология. 10 класс. Учебник. Базовый уровень. ВЕРТИКАЛЬ&quot;"/>
          </p:cNvPr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15663" y="2116668"/>
            <a:ext cx="1152128" cy="1523003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sp>
        <p:nvSpPr>
          <p:cNvPr id="28" name="Прямоугольник 27"/>
          <p:cNvSpPr/>
          <p:nvPr/>
        </p:nvSpPr>
        <p:spPr>
          <a:xfrm>
            <a:off x="4952295" y="1072700"/>
            <a:ext cx="176227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 smtClean="0"/>
              <a:t>Базовый уровень </a:t>
            </a:r>
            <a:r>
              <a:rPr lang="ru-RU" sz="1500" dirty="0" err="1" smtClean="0"/>
              <a:t>Сивоглазов</a:t>
            </a:r>
            <a:r>
              <a:rPr lang="ru-RU" sz="1500" dirty="0" smtClean="0"/>
              <a:t> В.И, Агафонова И.Б., </a:t>
            </a:r>
          </a:p>
          <a:p>
            <a:r>
              <a:rPr lang="ru-RU" sz="1500" dirty="0" smtClean="0"/>
              <a:t>Захарова Е.Т.</a:t>
            </a:r>
          </a:p>
        </p:txBody>
      </p:sp>
      <p:pic>
        <p:nvPicPr>
          <p:cNvPr id="33" name="Picture 6" descr="Линия УМК Н. М. Черновой. Экология (10-11) (баз.)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64823" y="2094717"/>
            <a:ext cx="1147483" cy="150129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36" name="Рисунок 35" descr="Биология. 9  класс. Учебник">
            <a:hlinkClick r:id="rId7" tooltip="&quot;Биология. 9  класс. Учебник&quot;"/>
          </p:cNvPr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71593" y="1308847"/>
            <a:ext cx="1128172" cy="1443319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37" name="Рисунок 36" descr="Биология. 9 класс. Учебник.">
            <a:hlinkClick r:id="rId9" tooltip="&quot;Биология. 9 класс. Учебник.&quot;"/>
          </p:cNvPr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43435" y="1290917"/>
            <a:ext cx="1111624" cy="1389530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34" name="Рисунок 33" descr="Биология. 9 класс. Введение в общую биологию. Учебник">
            <a:hlinkClick r:id="rId11" tooltip="&quot;Биология. 9 класс. Введение в общую биологию. Учебник&quot;"/>
          </p:cNvPr>
          <p:cNvPicPr/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461247" y="3030071"/>
            <a:ext cx="1075764" cy="1335741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38" name="Рисунок 37" descr="Биология. 9  класс. Учебник">
            <a:hlinkClick r:id="rId13" tooltip="&quot;Биология. 9  класс. Учебник&quot;"/>
          </p:cNvPr>
          <p:cNvPicPr/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43435" y="3083862"/>
            <a:ext cx="1129556" cy="1344703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40" name="Рисунок 39" descr="cover1_9kl.jp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896471" y="4558239"/>
            <a:ext cx="1138517" cy="1594874"/>
          </a:xfrm>
          <a:prstGeom prst="rect">
            <a:avLst/>
          </a:prstGeom>
          <a:ln w="31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50529" y="4230822"/>
            <a:ext cx="1118694" cy="1560379"/>
          </a:xfrm>
          <a:prstGeom prst="rect">
            <a:avLst/>
          </a:prstGeom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6" name="Рисунок 45" descr="cover1_11kl.jp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4469256" y="3810782"/>
            <a:ext cx="1070932" cy="1545340"/>
          </a:xfrm>
          <a:prstGeom prst="rect">
            <a:avLst/>
          </a:prstGeom>
          <a:ln w="317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7" name="Рисунок 46" descr="Линия УМК Миркина. Экология. (10-11)">
            <a:hlinkClick r:id="rId18" tooltip="&quot;Линия УМК Миркина. Экология. (10-11)&quot;"/>
          </p:cNvPr>
          <p:cNvPicPr/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367266" y="2103638"/>
            <a:ext cx="1152128" cy="1512168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48" name="Рисунок 47" descr="Естествознание.Базовый уровень.10кл.ВЕРТИКАЛЬ (перераб.)">
            <a:hlinkClick r:id="rId20"/>
          </p:cNvPr>
          <p:cNvPicPr/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390709" y="3792071"/>
            <a:ext cx="1121714" cy="1538027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49" name="Picture 4" descr="Естествознание. 10 класс.. 10 класс. Учебник.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7662970" y="3820870"/>
            <a:ext cx="1041759" cy="153106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9903" y="200846"/>
            <a:ext cx="8639175" cy="957263"/>
          </a:xfrm>
        </p:spPr>
        <p:txBody>
          <a:bodyPr>
            <a:noAutofit/>
          </a:bodyPr>
          <a:lstStyle/>
          <a:p>
            <a:pPr algn="ctr"/>
            <a:r>
              <a:rPr lang="ru-RU" sz="2400" b="1" dirty="0" smtClean="0">
                <a:solidFill>
                  <a:schemeClr val="bg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ебники, прошедшие все необходимые экспертизы, поданные в 2018 году в МИНИСТЕРСТВО ПРОСВЕЩЕНИЯ</a:t>
            </a:r>
            <a:br>
              <a:rPr lang="ru-RU" sz="2400" b="1" dirty="0" smtClean="0">
                <a:solidFill>
                  <a:schemeClr val="bg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 smtClean="0">
                <a:solidFill>
                  <a:schemeClr val="bg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ожидающие включения в ФПУ</a:t>
            </a:r>
            <a:endParaRPr lang="ru-RU" sz="2400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/>
          <a:srcRect l="3338" t="8585" r="9180" b="4276"/>
          <a:stretch>
            <a:fillRect/>
          </a:stretch>
        </p:blipFill>
        <p:spPr>
          <a:xfrm>
            <a:off x="3736933" y="1837764"/>
            <a:ext cx="1399655" cy="218201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/>
          <a:srcRect l="5255" t="10749" r="8696" b="13317"/>
          <a:stretch>
            <a:fillRect/>
          </a:stretch>
        </p:blipFill>
        <p:spPr>
          <a:xfrm>
            <a:off x="533402" y="4078956"/>
            <a:ext cx="1545771" cy="208963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/>
          <a:srcRect l="7121" t="12503" r="8133" b="8467"/>
          <a:stretch>
            <a:fillRect/>
          </a:stretch>
        </p:blipFill>
        <p:spPr>
          <a:xfrm>
            <a:off x="2397212" y="4150659"/>
            <a:ext cx="1513115" cy="194883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770942" y="4267225"/>
            <a:ext cx="995228" cy="1379657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611530" y="4320989"/>
            <a:ext cx="960314" cy="1351288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0917" r="4882"/>
          <a:stretch>
            <a:fillRect/>
          </a:stretch>
        </p:blipFill>
        <p:spPr bwMode="auto">
          <a:xfrm>
            <a:off x="2178483" y="1909497"/>
            <a:ext cx="1398436" cy="1903129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464" t="11611" r="7847" b="6895"/>
          <a:stretch>
            <a:fillRect/>
          </a:stretch>
        </p:blipFill>
        <p:spPr bwMode="auto">
          <a:xfrm>
            <a:off x="5678063" y="1783996"/>
            <a:ext cx="1535964" cy="2174567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691" r="7574"/>
          <a:stretch>
            <a:fillRect/>
          </a:stretch>
        </p:blipFill>
        <p:spPr bwMode="auto">
          <a:xfrm>
            <a:off x="7344717" y="1819855"/>
            <a:ext cx="1360025" cy="2143889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642" t="12287" r="9825" b="6884"/>
          <a:stretch>
            <a:fillRect/>
          </a:stretch>
        </p:blipFill>
        <p:spPr bwMode="auto">
          <a:xfrm>
            <a:off x="4719757" y="4168605"/>
            <a:ext cx="1611086" cy="2210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5058" y="2369255"/>
            <a:ext cx="845884" cy="1180795"/>
          </a:xfrm>
          <a:prstGeom prst="rect">
            <a:avLst/>
          </a:prstGeom>
          <a:noFill/>
          <a:ln>
            <a:solidFill>
              <a:schemeClr val="bg2"/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91679" y="2366682"/>
            <a:ext cx="897109" cy="1228166"/>
          </a:xfrm>
          <a:prstGeom prst="rect">
            <a:avLst/>
          </a:prstGeom>
          <a:noFill/>
          <a:ln>
            <a:solidFill>
              <a:schemeClr val="bg2"/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52400" y="1704107"/>
            <a:ext cx="238245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515151"/>
                </a:solidFill>
              </a:rPr>
              <a:t>Пасечник В.В. (линейный) (5-9)</a:t>
            </a:r>
          </a:p>
        </p:txBody>
      </p:sp>
    </p:spTree>
    <p:extLst>
      <p:ext uri="{BB962C8B-B14F-4D97-AF65-F5344CB8AC3E}">
        <p14:creationId xmlns:p14="http://schemas.microsoft.com/office/powerpoint/2010/main" xmlns="" val="2905407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95973648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p:oleObj spid="_x0000_s509954" name="think-cell Slide" r:id="rId5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8435" name="Rectangle 2" hidden="1"/>
          <p:cNvSpPr>
            <a:spLocks noChangeArrowheads="1"/>
          </p:cNvSpPr>
          <p:nvPr/>
        </p:nvSpPr>
        <p:spPr bwMode="auto">
          <a:xfrm>
            <a:off x="1" y="0"/>
            <a:ext cx="119047" cy="158750"/>
          </a:xfrm>
          <a:prstGeom prst="rect">
            <a:avLst/>
          </a:prstGeom>
          <a:solidFill>
            <a:srgbClr val="A3CEED"/>
          </a:solidFill>
          <a:ln w="9360" cap="sq">
            <a:solidFill>
              <a:srgbClr val="A3CEED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32" name="Line 12"/>
          <p:cNvSpPr>
            <a:spLocks noChangeShapeType="1"/>
          </p:cNvSpPr>
          <p:nvPr/>
        </p:nvSpPr>
        <p:spPr bwMode="auto">
          <a:xfrm flipH="1">
            <a:off x="596310" y="3512785"/>
            <a:ext cx="6750000" cy="0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3" name="Line 14"/>
          <p:cNvSpPr>
            <a:spLocks noChangeShapeType="1"/>
          </p:cNvSpPr>
          <p:nvPr/>
        </p:nvSpPr>
        <p:spPr bwMode="auto">
          <a:xfrm flipH="1" flipV="1">
            <a:off x="1551472" y="1429461"/>
            <a:ext cx="5805000" cy="0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1" name="Line 15"/>
          <p:cNvSpPr>
            <a:spLocks noChangeShapeType="1"/>
          </p:cNvSpPr>
          <p:nvPr/>
        </p:nvSpPr>
        <p:spPr bwMode="auto">
          <a:xfrm flipV="1">
            <a:off x="1656809" y="1208178"/>
            <a:ext cx="1191" cy="5219700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6271979" y="5158726"/>
            <a:ext cx="1241357" cy="447753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 smtClean="0">
                <a:solidFill>
                  <a:schemeClr val="lt1"/>
                </a:solidFill>
                <a:latin typeface="Calibri" panose="020F0502020204030204" pitchFamily="34" charset="0"/>
              </a:rPr>
              <a:t>ФП </a:t>
            </a:r>
            <a:r>
              <a:rPr lang="ru-RU" sz="1400" b="1" dirty="0">
                <a:solidFill>
                  <a:schemeClr val="lt1"/>
                </a:solidFill>
                <a:latin typeface="Calibri" panose="020F0502020204030204" pitchFamily="34" charset="0"/>
              </a:rPr>
              <a:t>№ </a:t>
            </a:r>
            <a:r>
              <a:rPr lang="ru-RU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.3.6.2.4.1</a:t>
            </a:r>
            <a:endParaRPr lang="ru-RU" sz="14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113850" y="5156686"/>
            <a:ext cx="1241356" cy="44979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 smtClean="0">
                <a:solidFill>
                  <a:schemeClr val="lt1"/>
                </a:solidFill>
                <a:latin typeface="Calibri" panose="020F0502020204030204" pitchFamily="34" charset="0"/>
              </a:rPr>
              <a:t>ФП </a:t>
            </a:r>
            <a:r>
              <a:rPr lang="ru-RU" sz="1400" b="1" dirty="0">
                <a:solidFill>
                  <a:schemeClr val="lt1"/>
                </a:solidFill>
                <a:latin typeface="Calibri" panose="020F0502020204030204" pitchFamily="34" charset="0"/>
              </a:rPr>
              <a:t>№ </a:t>
            </a:r>
            <a:r>
              <a:rPr lang="ru-RU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.3.6.2.3.1</a:t>
            </a:r>
            <a:endParaRPr lang="ru-RU" sz="14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6" name="Rectangle 36"/>
          <p:cNvSpPr>
            <a:spLocks noChangeArrowheads="1"/>
          </p:cNvSpPr>
          <p:nvPr/>
        </p:nvSpPr>
        <p:spPr bwMode="auto">
          <a:xfrm>
            <a:off x="3206986" y="3081953"/>
            <a:ext cx="2488676" cy="264561"/>
          </a:xfrm>
          <a:prstGeom prst="rect">
            <a:avLst/>
          </a:prstGeom>
          <a:solidFill>
            <a:srgbClr val="D1E7F6"/>
          </a:solidFill>
          <a:ln w="9525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dirty="0" smtClean="0">
                <a:solidFill>
                  <a:srgbClr val="181818"/>
                </a:solidFill>
                <a:latin typeface="Calibri" pitchFamily="34" charset="0"/>
              </a:rPr>
              <a:t>Учебное пособия</a:t>
            </a:r>
            <a:endParaRPr lang="ru-RU" sz="1400" dirty="0">
              <a:solidFill>
                <a:srgbClr val="181818"/>
              </a:solidFill>
              <a:latin typeface="Calibri" pitchFamily="34" charset="0"/>
            </a:endParaRPr>
          </a:p>
        </p:txBody>
      </p:sp>
      <p:pic>
        <p:nvPicPr>
          <p:cNvPr id="47" name="Picture 4" descr="Ð­ÐºÐ¾Ð»Ð¾Ð³Ð¸Ñ. ÐÐ°Ð·Ð¾Ð²ÑÐ¹ ÑÑÐ¾Ð²ÐµÐ½Ñ. 10-11Â ÐºÐ»Ð°ÑÑ. Ð£ÑÐµÐ±Ð½Ð¸Ðº.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83977" y="4474687"/>
            <a:ext cx="1147483" cy="1495809"/>
          </a:xfrm>
          <a:prstGeom prst="rect">
            <a:avLst/>
          </a:prstGeom>
          <a:noFill/>
          <a:ln w="31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6" descr="Ð­ÐºÐ¾Ð»Ð¾Ð³Ð¸Ñ ÑÐµÐ»Ð¾Ð²ÐµÐºÐ°. ÐÑÐ»ÑÑÑÑÐ° Ð·Ð´Ð¾ÑÐ¾Ð²ÑÑ. 8Â ÐºÐ». Ð£ÑÐµÐ±Ð½Ð¾Ðµ Ð¿Ð¾ÑÐ¾Ð±Ð¸Ðµ.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32007" y="1568597"/>
            <a:ext cx="1070935" cy="1435439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8" descr="Ð­ÐºÐ¾Ð»Ð¾Ð³Ð¸Ñ Ð¶Ð¸Ð²Ð¾ÑÐ½ÑÑ. 7Â ÐºÐ». Ð£ÑÐµÐ±Ð½Ð¾Ðµ Ð¿Ð¾ÑÐ¾Ð±Ð¸Ðµ.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16941" y="1577549"/>
            <a:ext cx="1047229" cy="1423715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10" descr="Ð­ÐºÐ¾Ð»Ð¾Ð³Ð¸Ñ. 9 ÐºÐ»Ð°ÑÑ. ÐÐ¸Ð¾ÑÑÐµÑÐ° Ð¸ ÑÐµÐ»Ð¾Ð²ÐµÑÐµÑÑÐ²Ð¾. Ð Ð°Ð±Ð¾ÑÐ°Ñ ÑÐµÑÑÐ°Ð´Ñ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24381" y="1604492"/>
            <a:ext cx="1026043" cy="1434845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12" descr="Ð­ÐºÐ¾Ð»Ð¾Ð³Ð¸Ñ. 10-11 ÐºÐ». Ð£ÑÐµÐ±Ð½Ð¸Ðº. ÐÐ°Ð·Ð¾Ð²ÑÐ¹ ÑÑ. ÐÐÐ Ð¢ÐÐÐÐÐ¬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84377" y="4410339"/>
            <a:ext cx="1231218" cy="1578087"/>
          </a:xfrm>
          <a:prstGeom prst="rect">
            <a:avLst/>
          </a:prstGeom>
          <a:noFill/>
          <a:ln w="31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43955" y="1556752"/>
            <a:ext cx="1102658" cy="142874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4" name="Text Box 9"/>
          <p:cNvSpPr txBox="1">
            <a:spLocks noChangeArrowheads="1"/>
          </p:cNvSpPr>
          <p:nvPr/>
        </p:nvSpPr>
        <p:spPr bwMode="auto">
          <a:xfrm>
            <a:off x="3171127" y="1054382"/>
            <a:ext cx="2770070" cy="27699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2D3494"/>
              </a:buCl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Экология для 6-9 классов</a:t>
            </a:r>
          </a:p>
        </p:txBody>
      </p:sp>
      <p:sp>
        <p:nvSpPr>
          <p:cNvPr id="55" name="Line 15"/>
          <p:cNvSpPr>
            <a:spLocks noChangeShapeType="1"/>
          </p:cNvSpPr>
          <p:nvPr/>
        </p:nvSpPr>
        <p:spPr bwMode="auto">
          <a:xfrm flipH="1" flipV="1">
            <a:off x="4451324" y="3512785"/>
            <a:ext cx="0" cy="2953372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6" name="Text Box 9"/>
          <p:cNvSpPr txBox="1">
            <a:spLocks noChangeArrowheads="1"/>
          </p:cNvSpPr>
          <p:nvPr/>
        </p:nvSpPr>
        <p:spPr bwMode="auto">
          <a:xfrm>
            <a:off x="2028127" y="3707683"/>
            <a:ext cx="2122533" cy="430887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2D3494"/>
              </a:buCl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УМК  Б.М. Миркина и др</a:t>
            </a:r>
            <a:r>
              <a:rPr 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.</a:t>
            </a:r>
          </a:p>
          <a:p>
            <a:pPr algn="ctr">
              <a:buClr>
                <a:srgbClr val="2D3494"/>
              </a:buCl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(базовый уровень)</a:t>
            </a:r>
            <a:endParaRPr lang="ru-RU" sz="1400" b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57" name="Text Box 9"/>
          <p:cNvSpPr txBox="1">
            <a:spLocks noChangeArrowheads="1"/>
          </p:cNvSpPr>
          <p:nvPr/>
        </p:nvSpPr>
        <p:spPr bwMode="auto">
          <a:xfrm>
            <a:off x="4803662" y="3642942"/>
            <a:ext cx="2188809" cy="430887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2D3494"/>
              </a:buCl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УМК  Н.М. Черновой </a:t>
            </a:r>
            <a:endParaRPr lang="en-US" sz="1400" b="1" dirty="0" smtClean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algn="ctr">
              <a:buClr>
                <a:srgbClr val="2D3494"/>
              </a:buCl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и </a:t>
            </a:r>
            <a:r>
              <a:rPr lang="ru-RU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др.</a:t>
            </a:r>
          </a:p>
        </p:txBody>
      </p:sp>
      <p:sp>
        <p:nvSpPr>
          <p:cNvPr id="58" name="Line 12"/>
          <p:cNvSpPr>
            <a:spLocks noChangeShapeType="1"/>
          </p:cNvSpPr>
          <p:nvPr/>
        </p:nvSpPr>
        <p:spPr bwMode="auto">
          <a:xfrm flipH="1" flipV="1">
            <a:off x="1524579" y="4281221"/>
            <a:ext cx="5805000" cy="0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КУЩИЙ ПОРТФЕЛЬ КОРПОРАЦИИ «РОССИЙСКИЙ УЧЕБНИК» </a:t>
            </a:r>
            <a:br>
              <a:rPr lang="ru-RU" dirty="0"/>
            </a:br>
            <a:r>
              <a:rPr lang="ru-RU" dirty="0">
                <a:solidFill>
                  <a:srgbClr val="EB2049"/>
                </a:solidFill>
              </a:rPr>
              <a:t>ПО ЭКОЛОГИИ, ДОСТУПНЫЙ ДЛЯ </a:t>
            </a:r>
            <a:r>
              <a:rPr lang="ru-RU" dirty="0" smtClean="0">
                <a:solidFill>
                  <a:srgbClr val="EB2049"/>
                </a:solidFill>
              </a:rPr>
              <a:t>ЗАКУПКИ</a:t>
            </a:r>
            <a:endParaRPr lang="ru-RU" dirty="0">
              <a:solidFill>
                <a:srgbClr val="EB2049"/>
              </a:solidFill>
            </a:endParaRPr>
          </a:p>
        </p:txBody>
      </p:sp>
      <p:sp>
        <p:nvSpPr>
          <p:cNvPr id="36" name="Text Box 9"/>
          <p:cNvSpPr txBox="1">
            <a:spLocks noChangeArrowheads="1"/>
          </p:cNvSpPr>
          <p:nvPr/>
        </p:nvSpPr>
        <p:spPr bwMode="auto">
          <a:xfrm>
            <a:off x="636308" y="2258950"/>
            <a:ext cx="919114" cy="4302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rgbClr val="2D3494"/>
                </a:solidFill>
              </a:rPr>
              <a:t>ОСНОВНОЕ</a:t>
            </a:r>
          </a:p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 smtClean="0">
                <a:solidFill>
                  <a:srgbClr val="2D3494"/>
                </a:solidFill>
              </a:rPr>
              <a:t>ОБЩЕЕ</a:t>
            </a:r>
            <a:endParaRPr lang="ru-RU" sz="1400" b="1" dirty="0">
              <a:solidFill>
                <a:srgbClr val="2D3494"/>
              </a:solidFill>
            </a:endParaRPr>
          </a:p>
        </p:txBody>
      </p:sp>
      <p:sp>
        <p:nvSpPr>
          <p:cNvPr id="37" name="Text Box 10"/>
          <p:cNvSpPr txBox="1">
            <a:spLocks noChangeArrowheads="1"/>
          </p:cNvSpPr>
          <p:nvPr/>
        </p:nvSpPr>
        <p:spPr bwMode="auto">
          <a:xfrm>
            <a:off x="636308" y="4392298"/>
            <a:ext cx="940324" cy="6461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2D3494"/>
                </a:solidFill>
              </a:defRPr>
            </a:lvl1pPr>
          </a:lstStyle>
          <a:p>
            <a:r>
              <a:rPr lang="ru-RU" dirty="0"/>
              <a:t> СРЕДНЕЕ</a:t>
            </a:r>
          </a:p>
          <a:p>
            <a:r>
              <a:rPr lang="ru-RU" dirty="0"/>
              <a:t> (ПОЛНОЕ)</a:t>
            </a:r>
          </a:p>
          <a:p>
            <a:r>
              <a:rPr lang="ru-RU" dirty="0"/>
              <a:t> ОБЩЕЕ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Rectangle 5"/>
          <p:cNvSpPr>
            <a:spLocks noGrp="1" noChangeArrowheads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400" spc="-5" dirty="0" smtClean="0">
                <a:latin typeface="Cambria" pitchFamily="18" charset="0"/>
              </a:rPr>
              <a:t>                        Учебно-методические пособия по экологии</a:t>
            </a:r>
            <a:endParaRPr lang="ru-RU" sz="2400" b="1" dirty="0" smtClean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7" name="Рисунок 36" descr="1070_200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7504" y="1484784"/>
            <a:ext cx="1296144" cy="1678506"/>
          </a:xfrm>
          <a:prstGeom prst="rect">
            <a:avLst/>
          </a:prstGeom>
          <a:ln>
            <a:solidFill>
              <a:schemeClr val="accent2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4" name="Пятиугольник 23"/>
          <p:cNvSpPr/>
          <p:nvPr/>
        </p:nvSpPr>
        <p:spPr>
          <a:xfrm>
            <a:off x="164592" y="466344"/>
            <a:ext cx="978408" cy="370368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Cambria" pitchFamily="18" charset="0"/>
              </a:rPr>
              <a:t>5-</a:t>
            </a:r>
            <a:r>
              <a:rPr lang="ru-RU" sz="2800" b="1" dirty="0" smtClean="0">
                <a:latin typeface="Cambria" pitchFamily="18" charset="0"/>
              </a:rPr>
              <a:t>9</a:t>
            </a:r>
            <a:endParaRPr lang="ru-RU" sz="2800" b="1" dirty="0">
              <a:latin typeface="Cambria" pitchFamily="18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1331640" y="872716"/>
            <a:ext cx="7620000" cy="0"/>
          </a:xfrm>
          <a:prstGeom prst="line">
            <a:avLst/>
          </a:prstGeom>
          <a:ln w="47625" cmpd="thickThin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/>
          <p:cNvSpPr/>
          <p:nvPr/>
        </p:nvSpPr>
        <p:spPr>
          <a:xfrm>
            <a:off x="5061256" y="1155625"/>
            <a:ext cx="3744416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Verdana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ru-RU" b="1" dirty="0" smtClean="0">
              <a:solidFill>
                <a:schemeClr val="accent2"/>
              </a:solidFill>
              <a:latin typeface="Verdana" pitchFamily="34" charset="0"/>
            </a:endParaRPr>
          </a:p>
          <a:p>
            <a:pPr defTabSz="449263" eaLnBrk="0" hangingPunct="0">
              <a:buClr>
                <a:srgbClr val="000000"/>
              </a:buClr>
              <a:buSzPct val="100000"/>
              <a:buFont typeface="Verdana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Швец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И.М., </a:t>
            </a: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Федорова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М.З., </a:t>
            </a: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Лукина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Т.П., </a:t>
            </a: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Кучменко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В.С.</a:t>
            </a:r>
            <a:endParaRPr lang="ru-RU" dirty="0" smtClean="0">
              <a:solidFill>
                <a:srgbClr val="000000"/>
              </a:solidFill>
              <a:latin typeface="Verdana" pitchFamily="34" charset="0"/>
            </a:endParaRPr>
          </a:p>
          <a:p>
            <a:pPr defTabSz="449263" eaLnBrk="0" hangingPunct="0">
              <a:buClr>
                <a:srgbClr val="000000"/>
              </a:buClr>
              <a:buSzPct val="100000"/>
              <a:buFont typeface="Verdana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GB" dirty="0" smtClean="0">
              <a:solidFill>
                <a:srgbClr val="000000"/>
              </a:solidFill>
              <a:latin typeface="Verdana" pitchFamily="34" charset="0"/>
            </a:endParaRPr>
          </a:p>
          <a:p>
            <a:pPr defTabSz="449263" eaLnBrk="0" hangingPunct="0">
              <a:buClr>
                <a:srgbClr val="000000"/>
              </a:buClr>
              <a:buSzPct val="100000"/>
              <a:buFont typeface="Verdana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dirty="0" smtClean="0">
                <a:solidFill>
                  <a:srgbClr val="000000"/>
                </a:solidFill>
                <a:latin typeface="Verdana" pitchFamily="34" charset="0"/>
              </a:rPr>
              <a:t>Пособия 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предназначен</a:t>
            </a:r>
            <a:r>
              <a:rPr lang="ru-RU" dirty="0" err="1" smtClean="0">
                <a:solidFill>
                  <a:srgbClr val="000000"/>
                </a:solidFill>
                <a:latin typeface="Verdana" pitchFamily="34" charset="0"/>
              </a:rPr>
              <a:t>ы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endParaRPr lang="ru-RU" dirty="0" smtClean="0">
              <a:solidFill>
                <a:srgbClr val="000000"/>
              </a:solidFill>
              <a:latin typeface="Verdana" pitchFamily="34" charset="0"/>
            </a:endParaRPr>
          </a:p>
          <a:p>
            <a:pPr defTabSz="449263" eaLnBrk="0" hangingPunct="0">
              <a:buClr>
                <a:srgbClr val="000000"/>
              </a:buClr>
              <a:buSzPct val="100000"/>
              <a:buFont typeface="Verdana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для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организации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экологического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образования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школьников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endParaRPr lang="ru-RU" dirty="0" smtClean="0">
              <a:solidFill>
                <a:srgbClr val="000000"/>
              </a:solidFill>
              <a:latin typeface="Verdana" pitchFamily="34" charset="0"/>
            </a:endParaRPr>
          </a:p>
          <a:p>
            <a:pPr defTabSz="449263" eaLnBrk="0" hangingPunct="0">
              <a:buClr>
                <a:srgbClr val="000000"/>
              </a:buClr>
              <a:buSzPct val="100000"/>
              <a:buFont typeface="Verdana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в </a:t>
            </a:r>
            <a:r>
              <a:rPr lang="ru-RU" dirty="0" smtClean="0">
                <a:solidFill>
                  <a:srgbClr val="000000"/>
                </a:solidFill>
                <a:latin typeface="Verdana" pitchFamily="34" charset="0"/>
              </a:rPr>
              <a:t>урочной и внеурочной деятельности.</a:t>
            </a:r>
          </a:p>
          <a:p>
            <a:pPr defTabSz="449263" eaLnBrk="0" hangingPunct="0">
              <a:buClr>
                <a:srgbClr val="000000"/>
              </a:buClr>
              <a:buSzPct val="100000"/>
              <a:buFont typeface="Verdana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GB" dirty="0" smtClean="0">
              <a:solidFill>
                <a:srgbClr val="000000"/>
              </a:solidFill>
              <a:latin typeface="Verdana" pitchFamily="34" charset="0"/>
            </a:endParaRPr>
          </a:p>
        </p:txBody>
      </p:sp>
      <p:pic>
        <p:nvPicPr>
          <p:cNvPr id="14" name="Рисунок 13" descr="Экология животных. 7 кл. Учебное пособие.">
            <a:hlinkClick r:id="rId3" tooltip="&quot;Экология животных. 7 кл. Учебное пособие.&quot;"/>
          </p:cNvPr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55789" y="1484784"/>
            <a:ext cx="1300237" cy="172819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15" name="Рисунок 14" descr="Экология человека. Культура здоровья. 8 кл. Учебное пособие.">
            <a:hlinkClick r:id="rId5" tooltip="&quot;Экология человека. Культура здоровья. 8 кл. Учебное пособие.&quot;"/>
          </p:cNvPr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63889" y="4365104"/>
            <a:ext cx="1440160" cy="1800200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16" name="Рисунок 15" descr="Экология. 9 класс. Биосфера и человечество. Учебное пособие">
            <a:hlinkClick r:id="rId7" tooltip="&quot;Экология. 9 класс. Биосфера и человечество. Учебное пособие&quot;"/>
          </p:cNvPr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39552" y="4005064"/>
            <a:ext cx="1430283" cy="1800200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17" name="Рисунок 16" descr="Экология. Экология растений. 6  класс. Рабочая тетрадь.">
            <a:hlinkClick r:id="rId9" tooltip="&quot;Экология. Экология растений. 6  класс. Рабочая тетрадь.&quot;"/>
          </p:cNvPr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71600" y="1916832"/>
            <a:ext cx="1430283" cy="1872208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37890" name="Picture 2" descr="Экология животных. 7 класс. Рабочая тетрадь.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563888" y="2276898"/>
            <a:ext cx="1224136" cy="159864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</p:pic>
      <p:pic>
        <p:nvPicPr>
          <p:cNvPr id="37892" name="Picture 4" descr="Экология. 8 класс. Экология человека. Культура здоровья. Рабочая тетрадь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716016" y="4960142"/>
            <a:ext cx="1296144" cy="163723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</p:pic>
      <p:pic>
        <p:nvPicPr>
          <p:cNvPr id="37894" name="Picture 6" descr="Экология. 9 класс. Биосфера и человечество. Рабочая тетрадь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835697" y="4384505"/>
            <a:ext cx="1296144" cy="16986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5720" y="1285886"/>
            <a:ext cx="8686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b="1" i="1" cap="all" dirty="0" smtClean="0">
                <a:solidFill>
                  <a:schemeClr val="accent5">
                    <a:lumMod val="50000"/>
                  </a:schemeClr>
                </a:solidFill>
                <a:latin typeface="+mj-lt"/>
              </a:rPr>
              <a:t>			</a:t>
            </a:r>
            <a:endParaRPr lang="ru-RU" sz="1600" b="1" i="1" cap="all" dirty="0">
              <a:solidFill>
                <a:schemeClr val="accent5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8" name="object 2"/>
          <p:cNvSpPr txBox="1">
            <a:spLocks noGrp="1"/>
          </p:cNvSpPr>
          <p:nvPr>
            <p:ph type="title"/>
          </p:nvPr>
        </p:nvSpPr>
        <p:spPr>
          <a:xfrm>
            <a:off x="683568" y="548706"/>
            <a:ext cx="758152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3200" spc="-5" dirty="0" smtClean="0">
                <a:latin typeface="Cambria" pitchFamily="18" charset="0"/>
              </a:rPr>
              <a:t>ФПУ  от 28.12.2018г. № 345</a:t>
            </a:r>
            <a:endParaRPr sz="3200" spc="-5" dirty="0">
              <a:latin typeface="Cambria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236298" y="2204890"/>
            <a:ext cx="18002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ru-RU" spc="-5" dirty="0" smtClean="0">
                <a:latin typeface="Cambria" pitchFamily="18" charset="0"/>
                <a:cs typeface="Arial"/>
              </a:rPr>
              <a:t> Б.М.Миркин , </a:t>
            </a:r>
          </a:p>
          <a:p>
            <a:pPr>
              <a:buNone/>
            </a:pPr>
            <a:r>
              <a:rPr lang="ru-RU" spc="-5" dirty="0" smtClean="0">
                <a:latin typeface="Cambria" pitchFamily="18" charset="0"/>
                <a:cs typeface="Arial"/>
              </a:rPr>
              <a:t> Л.Г Наумова.,</a:t>
            </a:r>
          </a:p>
          <a:p>
            <a:pPr>
              <a:buNone/>
            </a:pPr>
            <a:r>
              <a:rPr lang="ru-RU" spc="-5" dirty="0" smtClean="0">
                <a:latin typeface="Cambria" pitchFamily="18" charset="0"/>
                <a:cs typeface="Arial"/>
              </a:rPr>
              <a:t> С.В </a:t>
            </a:r>
            <a:r>
              <a:rPr lang="ru-RU" spc="-5" dirty="0" err="1" smtClean="0">
                <a:latin typeface="Cambria" pitchFamily="18" charset="0"/>
                <a:cs typeface="Arial"/>
              </a:rPr>
              <a:t>Суматохин</a:t>
            </a:r>
            <a:endParaRPr lang="ru-RU" spc="-5" dirty="0" smtClean="0">
              <a:latin typeface="Cambria" pitchFamily="18" charset="0"/>
              <a:cs typeface="Arial"/>
            </a:endParaRPr>
          </a:p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2411760" y="2420888"/>
            <a:ext cx="208823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pc="-5" dirty="0" smtClean="0">
                <a:latin typeface="Cambria" pitchFamily="18" charset="0"/>
                <a:cs typeface="Arial"/>
              </a:rPr>
              <a:t>Н.М.Чернова,</a:t>
            </a:r>
          </a:p>
          <a:p>
            <a:r>
              <a:rPr lang="ru-RU" spc="-5" dirty="0" err="1" smtClean="0">
                <a:latin typeface="Cambria" pitchFamily="18" charset="0"/>
                <a:cs typeface="Arial"/>
              </a:rPr>
              <a:t>В.М.Галушин</a:t>
            </a:r>
            <a:endParaRPr lang="ru-RU" spc="-5" dirty="0" smtClean="0">
              <a:latin typeface="Cambria" pitchFamily="18" charset="0"/>
              <a:cs typeface="Arial"/>
            </a:endParaRPr>
          </a:p>
          <a:p>
            <a:r>
              <a:rPr lang="ru-RU" spc="-5" dirty="0" smtClean="0">
                <a:latin typeface="Cambria" pitchFamily="18" charset="0"/>
                <a:cs typeface="Arial"/>
              </a:rPr>
              <a:t>В.М.Константинов</a:t>
            </a:r>
            <a:endParaRPr lang="ru-RU" spc="-5" dirty="0">
              <a:latin typeface="Cambria" pitchFamily="18" charset="0"/>
              <a:cs typeface="Arial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112061" y="3537012"/>
            <a:ext cx="3438128" cy="2677656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FF0000"/>
                </a:solidFill>
              </a:rPr>
              <a:t>- Общая экология </a:t>
            </a:r>
            <a:r>
              <a:rPr lang="ru-RU" sz="1200" dirty="0" smtClean="0"/>
              <a:t>(</a:t>
            </a:r>
            <a:r>
              <a:rPr lang="ru-RU" sz="1200" dirty="0" err="1" smtClean="0"/>
              <a:t>экология</a:t>
            </a:r>
            <a:r>
              <a:rPr lang="ru-RU" sz="1200" dirty="0" smtClean="0"/>
              <a:t> видов, популяций, экосистем и биосферы), </a:t>
            </a:r>
          </a:p>
          <a:p>
            <a:r>
              <a:rPr lang="ru-RU" sz="1200" dirty="0" smtClean="0">
                <a:solidFill>
                  <a:srgbClr val="FF0000"/>
                </a:solidFill>
              </a:rPr>
              <a:t>- Прикладная экология </a:t>
            </a:r>
            <a:r>
              <a:rPr lang="ru-RU" sz="1200" dirty="0" smtClean="0"/>
              <a:t>(сельскохозяйственная,  городская, промышленная экология; вопросы охраны природы, механизмы рационального природопользования) </a:t>
            </a:r>
          </a:p>
          <a:p>
            <a:pP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Социальная экология </a:t>
            </a:r>
            <a:r>
              <a:rPr lang="ru-RU" sz="1200" dirty="0" smtClean="0"/>
              <a:t>(концепция устойчивого развития, глобальные экологические проблемы, международное сотрудничество в деле сохранения окружающей среды и формирование нового экологического менталитета населения). </a:t>
            </a:r>
          </a:p>
          <a:p>
            <a:r>
              <a:rPr lang="ru-RU" sz="1200" dirty="0" smtClean="0"/>
              <a:t>Большинство глав содержит дополнительный справочный материал, который позволяет старшеклассникам расширить свой кругозор.</a:t>
            </a:r>
            <a:endParaRPr lang="ru-RU" sz="12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404356" y="3689557"/>
            <a:ext cx="3366120" cy="2492990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Общая экология – </a:t>
            </a:r>
            <a:r>
              <a:rPr lang="ru-RU" sz="1200" dirty="0" smtClean="0"/>
              <a:t>рассматриваются основные  законы природы, поддерживающие её устойчивость,</a:t>
            </a:r>
          </a:p>
          <a:p>
            <a:pP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Социальная экология </a:t>
            </a:r>
            <a:r>
              <a:rPr lang="ru-RU" sz="1200" dirty="0" smtClean="0"/>
              <a:t>– рассматривает взаимоотношения общества и природы и возникающие в связи с этим экологические проблемы, а также основные принципы охраны природы.</a:t>
            </a:r>
          </a:p>
          <a:p>
            <a:r>
              <a:rPr lang="ru-RU" sz="1200" dirty="0" smtClean="0"/>
              <a:t>В методический аппарат включено большое количество разнообразных заданий, проблемных вопросов, материалов для дискуссий, примеров и дополнительной информации.</a:t>
            </a:r>
            <a:endParaRPr lang="ru-RU" sz="1200" dirty="0"/>
          </a:p>
        </p:txBody>
      </p:sp>
      <p:pic>
        <p:nvPicPr>
          <p:cNvPr id="14" name="Рисунок 13" descr="Линия УМК Миркина. Экология. (10-11)">
            <a:hlinkClick r:id="rId2" tooltip="&quot;Линия УМК Миркина. Экология. (10-11)&quot;"/>
          </p:cNvPr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57030" y="1413356"/>
            <a:ext cx="1152128" cy="1512168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38916" name="Picture 4" descr="Линия УМК Н. М. Черновой. Экология (10-11) (баз.)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43608" y="2060848"/>
            <a:ext cx="1143000" cy="1495426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38918" name="Picture 6" descr="Линия УМК Н. М. Черновой. Экология (10-11) (баз.)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8414" y="1556792"/>
            <a:ext cx="1143000" cy="1495426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cxnSp>
        <p:nvCxnSpPr>
          <p:cNvPr id="15" name="Прямая соединительная линия 14"/>
          <p:cNvCxnSpPr/>
          <p:nvPr/>
        </p:nvCxnSpPr>
        <p:spPr>
          <a:xfrm>
            <a:off x="228600" y="990600"/>
            <a:ext cx="8686800" cy="0"/>
          </a:xfrm>
          <a:prstGeom prst="line">
            <a:avLst/>
          </a:prstGeom>
          <a:ln w="47625" cmpd="thickThin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ятиугольник 15"/>
          <p:cNvSpPr/>
          <p:nvPr/>
        </p:nvSpPr>
        <p:spPr>
          <a:xfrm>
            <a:off x="179512" y="764704"/>
            <a:ext cx="1368152" cy="4572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Cambria" pitchFamily="18" charset="0"/>
              </a:rPr>
              <a:t>10-11</a:t>
            </a:r>
            <a:endParaRPr lang="ru-RU" sz="2800" b="1" dirty="0">
              <a:latin typeface="Cambria" pitchFamily="18" charset="0"/>
            </a:endParaRPr>
          </a:p>
        </p:txBody>
      </p:sp>
      <p:pic>
        <p:nvPicPr>
          <p:cNvPr id="17" name="Picture 2" descr="Экология. 10–11 классы. Методическое пособие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24805" y="1998513"/>
            <a:ext cx="932518" cy="133703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392655863"/>
              </p:ext>
            </p:extLst>
          </p:nvPr>
        </p:nvGraphicFramePr>
        <p:xfrm>
          <a:off x="1144195" y="858843"/>
          <a:ext cx="1190" cy="1587"/>
        </p:xfrm>
        <a:graphic>
          <a:graphicData uri="http://schemas.openxmlformats.org/presentationml/2006/ole">
            <p:oleObj spid="_x0000_s466946" name="think-cell Slide" r:id="rId4" imgW="360" imgH="360" progId="">
              <p:embed/>
            </p:oleObj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5235" r="16248"/>
          <a:stretch/>
        </p:blipFill>
        <p:spPr>
          <a:xfrm>
            <a:off x="5011615" y="0"/>
            <a:ext cx="4132398" cy="6858000"/>
          </a:xfrm>
          <a:prstGeom prst="rect">
            <a:avLst/>
          </a:prstGeom>
        </p:spPr>
      </p:pic>
      <p:sp>
        <p:nvSpPr>
          <p:cNvPr id="126" name="ЧТО ОКРУЖАЕТ УЧИТЕЛЯ СЕГОДНЯ?"/>
          <p:cNvSpPr txBox="1"/>
          <p:nvPr/>
        </p:nvSpPr>
        <p:spPr>
          <a:xfrm>
            <a:off x="0" y="3010612"/>
            <a:ext cx="5011615" cy="14940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7000" tIns="54000" rIns="54000" bIns="54000" anchor="ctr">
            <a:spAutoFit/>
          </a:bodyPr>
          <a:lstStyle/>
          <a:p>
            <a:pPr>
              <a:defRPr sz="20000" b="0">
                <a:solidFill>
                  <a:srgbClr val="009044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pPr>
            <a:r>
              <a:rPr lang="ru-RU" sz="3000" b="1" dirty="0" smtClean="0">
                <a:solidFill>
                  <a:srgbClr val="2D3494"/>
                </a:solidFill>
                <a:latin typeface="+mj-lt"/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	Новый Федеральный 	Перечень Учебников</a:t>
            </a:r>
          </a:p>
          <a:p>
            <a:pPr>
              <a:defRPr sz="20000" b="0">
                <a:solidFill>
                  <a:srgbClr val="009044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pPr>
            <a:r>
              <a:rPr lang="ru-RU" sz="3000" b="1" dirty="0" smtClean="0">
                <a:solidFill>
                  <a:srgbClr val="FC0652"/>
                </a:solidFill>
                <a:latin typeface="+mj-lt"/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Приказ № 345 от 27.12.2018г.</a:t>
            </a:r>
            <a:endParaRPr sz="3000" b="1" dirty="0">
              <a:solidFill>
                <a:srgbClr val="2D3494"/>
              </a:solidFill>
              <a:latin typeface="+mj-lt"/>
              <a:ea typeface="Helvetica Neue Condensed" panose="02000503000000020004" pitchFamily="2" charset="0"/>
              <a:cs typeface="Calibri" panose="020F0502020204030204" pitchFamily="34" charset="0"/>
              <a:sym typeface="HeliosCompressed"/>
            </a:endParaRPr>
          </a:p>
        </p:txBody>
      </p:sp>
      <p:sp>
        <p:nvSpPr>
          <p:cNvPr id="8" name="Полилиния 7"/>
          <p:cNvSpPr/>
          <p:nvPr/>
        </p:nvSpPr>
        <p:spPr>
          <a:xfrm>
            <a:off x="4835770" y="0"/>
            <a:ext cx="2279018" cy="6859842"/>
          </a:xfrm>
          <a:custGeom>
            <a:avLst/>
            <a:gdLst>
              <a:gd name="connsiteX0" fmla="*/ 0 w 1714512"/>
              <a:gd name="connsiteY0" fmla="*/ 6854428 h 6854428"/>
              <a:gd name="connsiteX1" fmla="*/ 0 w 1714512"/>
              <a:gd name="connsiteY1" fmla="*/ 0 h 6854428"/>
              <a:gd name="connsiteX2" fmla="*/ 1714512 w 1714512"/>
              <a:gd name="connsiteY2" fmla="*/ 6854428 h 6854428"/>
              <a:gd name="connsiteX3" fmla="*/ 0 w 1714512"/>
              <a:gd name="connsiteY3" fmla="*/ 6854428 h 6854428"/>
              <a:gd name="connsiteX0" fmla="*/ 619172 w 2333684"/>
              <a:gd name="connsiteY0" fmla="*/ 6858000 h 6858000"/>
              <a:gd name="connsiteX1" fmla="*/ 0 w 2333684"/>
              <a:gd name="connsiteY1" fmla="*/ 0 h 6858000"/>
              <a:gd name="connsiteX2" fmla="*/ 2333684 w 2333684"/>
              <a:gd name="connsiteY2" fmla="*/ 6858000 h 6858000"/>
              <a:gd name="connsiteX3" fmla="*/ 619172 w 2333684"/>
              <a:gd name="connsiteY3" fmla="*/ 6858000 h 6858000"/>
              <a:gd name="connsiteX0" fmla="*/ 809716 w 2524228"/>
              <a:gd name="connsiteY0" fmla="*/ 6858000 h 6858000"/>
              <a:gd name="connsiteX1" fmla="*/ 0 w 2524228"/>
              <a:gd name="connsiteY1" fmla="*/ 0 h 6858000"/>
              <a:gd name="connsiteX2" fmla="*/ 2524228 w 2524228"/>
              <a:gd name="connsiteY2" fmla="*/ 6858000 h 6858000"/>
              <a:gd name="connsiteX3" fmla="*/ 809716 w 2524228"/>
              <a:gd name="connsiteY3" fmla="*/ 6858000 h 6858000"/>
              <a:gd name="connsiteX0" fmla="*/ 0 w 2690874"/>
              <a:gd name="connsiteY0" fmla="*/ 6858000 h 6858000"/>
              <a:gd name="connsiteX1" fmla="*/ 166646 w 2690874"/>
              <a:gd name="connsiteY1" fmla="*/ 0 h 6858000"/>
              <a:gd name="connsiteX2" fmla="*/ 2690874 w 2690874"/>
              <a:gd name="connsiteY2" fmla="*/ 6858000 h 6858000"/>
              <a:gd name="connsiteX3" fmla="*/ 0 w 2690874"/>
              <a:gd name="connsiteY3" fmla="*/ 6858000 h 6858000"/>
              <a:gd name="connsiteX0" fmla="*/ 0 w 2071702"/>
              <a:gd name="connsiteY0" fmla="*/ 6858000 h 6858000"/>
              <a:gd name="connsiteX1" fmla="*/ 166646 w 2071702"/>
              <a:gd name="connsiteY1" fmla="*/ 0 h 6858000"/>
              <a:gd name="connsiteX2" fmla="*/ 2071702 w 2071702"/>
              <a:gd name="connsiteY2" fmla="*/ 6858000 h 6858000"/>
              <a:gd name="connsiteX3" fmla="*/ 0 w 2071702"/>
              <a:gd name="connsiteY3" fmla="*/ 6858000 h 6858000"/>
              <a:gd name="connsiteX0" fmla="*/ 0 w 3024166"/>
              <a:gd name="connsiteY0" fmla="*/ 6858000 h 6858000"/>
              <a:gd name="connsiteX1" fmla="*/ 166646 w 3024166"/>
              <a:gd name="connsiteY1" fmla="*/ 0 h 6858000"/>
              <a:gd name="connsiteX2" fmla="*/ 3024166 w 3024166"/>
              <a:gd name="connsiteY2" fmla="*/ 6858000 h 6858000"/>
              <a:gd name="connsiteX3" fmla="*/ 0 w 302416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4166" h="6858000">
                <a:moveTo>
                  <a:pt x="0" y="6858000"/>
                </a:moveTo>
                <a:lnTo>
                  <a:pt x="166646" y="0"/>
                </a:lnTo>
                <a:lnTo>
                  <a:pt x="302416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anchor="ctr"/>
          <a:lstStyle/>
          <a:p>
            <a:pPr algn="ctr">
              <a:defRPr/>
            </a:pPr>
            <a:endParaRPr lang="ru-RU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3911774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44018430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p:oleObj spid="_x0000_s510978" name="think-cell Slide" r:id="rId4" imgW="360" imgH="360" progId="">
              <p:embed/>
            </p:oleObj>
          </a:graphicData>
        </a:graphic>
      </p:graphicFrame>
      <p:sp>
        <p:nvSpPr>
          <p:cNvPr id="18435" name="Rectangle 2" hidden="1"/>
          <p:cNvSpPr>
            <a:spLocks noChangeArrowheads="1"/>
          </p:cNvSpPr>
          <p:nvPr/>
        </p:nvSpPr>
        <p:spPr bwMode="auto">
          <a:xfrm>
            <a:off x="0" y="0"/>
            <a:ext cx="119047" cy="158750"/>
          </a:xfrm>
          <a:prstGeom prst="rect">
            <a:avLst/>
          </a:prstGeom>
          <a:solidFill>
            <a:srgbClr val="A3CEED"/>
          </a:solidFill>
          <a:ln w="9360" cap="sq">
            <a:solidFill>
              <a:srgbClr val="A3CEED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pic>
        <p:nvPicPr>
          <p:cNvPr id="39" name="Рисунок 38" descr="Естеств Титов 11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482875" y="4616230"/>
            <a:ext cx="878890" cy="1363229"/>
          </a:xfrm>
          <a:prstGeom prst="rect">
            <a:avLst/>
          </a:prstGeom>
          <a:ln w="31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1" name="Прямоугольник 40"/>
          <p:cNvSpPr/>
          <p:nvPr/>
        </p:nvSpPr>
        <p:spPr>
          <a:xfrm>
            <a:off x="6301986" y="5251855"/>
            <a:ext cx="1241357" cy="53038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r>
              <a:rPr lang="ru-RU" sz="1400" b="1" dirty="0" smtClean="0">
                <a:solidFill>
                  <a:schemeClr val="lt1"/>
                </a:solidFill>
                <a:latin typeface="Calibri" panose="020F0502020204030204" pitchFamily="34" charset="0"/>
              </a:rPr>
              <a:t>ФП </a:t>
            </a:r>
            <a:r>
              <a:rPr lang="ru-RU" sz="1400" b="1" dirty="0">
                <a:solidFill>
                  <a:schemeClr val="lt1"/>
                </a:solidFill>
                <a:latin typeface="Calibri" panose="020F0502020204030204" pitchFamily="34" charset="0"/>
              </a:rPr>
              <a:t>№ </a:t>
            </a:r>
            <a:r>
              <a:rPr lang="ru-RU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.3.5.8.2.1,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.3.5.8.2.2.</a:t>
            </a:r>
            <a:endParaRPr lang="ru-RU" sz="14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3329469" y="5190565"/>
            <a:ext cx="1241356" cy="600635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/>
            <a:endParaRPr lang="ru-RU" sz="1400" b="1" dirty="0" smtClean="0">
              <a:solidFill>
                <a:schemeClr val="lt1"/>
              </a:solidFill>
              <a:latin typeface="Calibri" panose="020F0502020204030204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lt1"/>
                </a:solidFill>
                <a:latin typeface="Calibri" panose="020F0502020204030204" pitchFamily="34" charset="0"/>
              </a:rPr>
              <a:t>ФП </a:t>
            </a:r>
            <a:r>
              <a:rPr lang="ru-RU" sz="1400" b="1" dirty="0">
                <a:solidFill>
                  <a:schemeClr val="lt1"/>
                </a:solidFill>
                <a:latin typeface="Calibri" panose="020F0502020204030204" pitchFamily="34" charset="0"/>
              </a:rPr>
              <a:t>№ </a:t>
            </a:r>
            <a:r>
              <a:rPr lang="ru-RU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.3.5.8.3.1,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.3.5.8.3.2 </a:t>
            </a:r>
          </a:p>
          <a:p>
            <a:pPr algn="ctr"/>
            <a:endParaRPr lang="ru-RU" sz="14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4" name="Text Box 60"/>
          <p:cNvSpPr txBox="1">
            <a:spLocks noChangeArrowheads="1"/>
          </p:cNvSpPr>
          <p:nvPr/>
        </p:nvSpPr>
        <p:spPr bwMode="auto">
          <a:xfrm>
            <a:off x="4782061" y="4418249"/>
            <a:ext cx="83333" cy="28935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0" tIns="12240" rIns="0" bIns="0">
            <a:spAutoFit/>
          </a:bodyPr>
          <a:lstStyle/>
          <a:p>
            <a:pPr marL="12700">
              <a:spcBef>
                <a:spcPts val="100"/>
              </a:spcBef>
              <a:buClrTx/>
              <a:buFontTx/>
              <a:buNone/>
              <a:tabLst>
                <a:tab pos="12700" algn="l"/>
                <a:tab pos="927100" algn="l"/>
                <a:tab pos="1841500" algn="l"/>
                <a:tab pos="2755900" algn="l"/>
                <a:tab pos="3670300" algn="l"/>
                <a:tab pos="4584700" algn="l"/>
                <a:tab pos="5499100" algn="l"/>
                <a:tab pos="6413500" algn="l"/>
                <a:tab pos="7327900" algn="l"/>
                <a:tab pos="8242300" algn="l"/>
                <a:tab pos="9156700" algn="l"/>
                <a:tab pos="10071100" algn="l"/>
              </a:tabLst>
            </a:pPr>
            <a:r>
              <a:rPr lang="ru-RU" dirty="0" smtClean="0">
                <a:solidFill>
                  <a:srgbClr val="2D3494"/>
                </a:solidFill>
                <a:latin typeface="Calibri" pitchFamily="34" charset="0"/>
              </a:rPr>
              <a:t> </a:t>
            </a:r>
            <a:endParaRPr lang="ru-RU" dirty="0">
              <a:solidFill>
                <a:srgbClr val="2D3494"/>
              </a:solidFill>
              <a:latin typeface="Calibri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3294260" y="2753949"/>
            <a:ext cx="1250846" cy="455416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>
              <a:spcBef>
                <a:spcPts val="600"/>
              </a:spcBef>
            </a:pPr>
            <a:endParaRPr lang="ru-RU" sz="1400" b="1" dirty="0" smtClean="0">
              <a:solidFill>
                <a:schemeClr val="lt1"/>
              </a:solidFill>
              <a:latin typeface="Calibri" panose="020F0502020204030204" pitchFamily="34" charset="0"/>
            </a:endParaRPr>
          </a:p>
          <a:p>
            <a:pPr algn="ctr">
              <a:spcBef>
                <a:spcPts val="600"/>
              </a:spcBef>
            </a:pPr>
            <a:r>
              <a:rPr lang="ru-RU" sz="1400" b="1" dirty="0" smtClean="0">
                <a:solidFill>
                  <a:schemeClr val="lt1"/>
                </a:solidFill>
                <a:latin typeface="Calibri" panose="020F0502020204030204" pitchFamily="34" charset="0"/>
              </a:rPr>
              <a:t>ФП </a:t>
            </a:r>
            <a:r>
              <a:rPr lang="ru-RU" sz="1400" b="1" dirty="0">
                <a:solidFill>
                  <a:schemeClr val="lt1"/>
                </a:solidFill>
                <a:latin typeface="Calibri" panose="020F0502020204030204" pitchFamily="34" charset="0"/>
              </a:rPr>
              <a:t>№ </a:t>
            </a:r>
            <a:r>
              <a:rPr lang="ru-RU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.3.5.8.3.1</a:t>
            </a:r>
          </a:p>
          <a:p>
            <a:pPr algn="ctr">
              <a:spcBef>
                <a:spcPts val="600"/>
              </a:spcBef>
            </a:pPr>
            <a:endParaRPr lang="ru-RU" sz="14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6266329" y="2752821"/>
            <a:ext cx="1272989" cy="483438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 smtClean="0">
                <a:solidFill>
                  <a:schemeClr val="lt1"/>
                </a:solidFill>
                <a:latin typeface="Calibri" panose="020F0502020204030204" pitchFamily="34" charset="0"/>
              </a:rPr>
              <a:t>ФП </a:t>
            </a:r>
            <a:r>
              <a:rPr lang="ru-RU" sz="1400" b="1" dirty="0">
                <a:solidFill>
                  <a:schemeClr val="lt1"/>
                </a:solidFill>
                <a:latin typeface="Calibri" panose="020F0502020204030204" pitchFamily="34" charset="0"/>
              </a:rPr>
              <a:t>№ </a:t>
            </a:r>
            <a:r>
              <a:rPr lang="ru-RU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1.3.5.8.3.1</a:t>
            </a:r>
            <a:endParaRPr lang="ru-RU" sz="14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69" name="Рисунок 68" descr="Естеств Титов 10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769858" y="4878151"/>
            <a:ext cx="892511" cy="1397144"/>
          </a:xfrm>
          <a:prstGeom prst="rect">
            <a:avLst/>
          </a:prstGeom>
          <a:ln w="31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0" name="Рисунок 69" descr="Естеств Габр 11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449376" y="4401669"/>
            <a:ext cx="894596" cy="1473321"/>
          </a:xfrm>
          <a:prstGeom prst="rect">
            <a:avLst/>
          </a:prstGeom>
          <a:ln w="31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1" name="Рисунок 70" descr="Естеств Габр 10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802652" y="4894864"/>
            <a:ext cx="899889" cy="1353536"/>
          </a:xfrm>
          <a:prstGeom prst="rect">
            <a:avLst/>
          </a:prstGeom>
          <a:ln w="31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2" name="Picture 4" descr="ÐÑÑÐµÑÑÐ²Ð¾Ð·Ð½Ð°Ð½Ð¸Ðµ. ÐÐ²ÐµÐ´ÐµÐ½Ð¸Ðµ Ð² ÐµÑÑÐµÑÑÐ²ÐµÐ½Ð½Ð¾-Ð½Ð°ÑÑÐ½ÑÐµ Ð¿ÑÐµÐ´Ð¼ÐµÑÑ. 5 ÐºÐ»Ð°ÑÑ. Ð£ÑÐµÐ±Ð½Ð¸Ðº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54307" y="1977567"/>
            <a:ext cx="1012238" cy="1384198"/>
          </a:xfrm>
          <a:prstGeom prst="rect">
            <a:avLst/>
          </a:prstGeom>
          <a:noFill/>
          <a:ln w="31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6" descr="ÐÐ²ÐµÐ´ÐµÐ½Ð¸Ðµ Ð² ÐµÑÑÐµÑÑÐ²ÐµÐ½Ð½Ð¾-Ð½Ð°ÑÑÐ½ÑÐµ Ð¿ÑÐµÐ´Ð¼ÐµÑÑ. ÐÑÐ¸ÑÐ¾Ð´Ð°. 5 ÐºÐ»Ð°ÑÑ. Ð£ÑÐµÐ±Ð½Ð¸Ðº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59114" y="1927980"/>
            <a:ext cx="956571" cy="1415856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Text Box 9"/>
          <p:cNvSpPr txBox="1">
            <a:spLocks noChangeArrowheads="1"/>
          </p:cNvSpPr>
          <p:nvPr/>
        </p:nvSpPr>
        <p:spPr bwMode="auto">
          <a:xfrm>
            <a:off x="636307" y="2258950"/>
            <a:ext cx="919114" cy="430212"/>
          </a:xfrm>
          <a:prstGeom prst="rect">
            <a:avLst/>
          </a:pr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rgbClr val="2D3494"/>
                </a:solidFill>
              </a:rPr>
              <a:t>ОСНОВНОЕ</a:t>
            </a:r>
          </a:p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 smtClean="0">
                <a:solidFill>
                  <a:srgbClr val="2D3494"/>
                </a:solidFill>
              </a:rPr>
              <a:t>ОБЩЕЕ</a:t>
            </a:r>
            <a:endParaRPr lang="ru-RU" sz="1400" b="1" dirty="0">
              <a:solidFill>
                <a:srgbClr val="2D3494"/>
              </a:solidFill>
            </a:endParaRPr>
          </a:p>
        </p:txBody>
      </p:sp>
      <p:sp>
        <p:nvSpPr>
          <p:cNvPr id="75" name="Line 12"/>
          <p:cNvSpPr>
            <a:spLocks noChangeShapeType="1"/>
          </p:cNvSpPr>
          <p:nvPr/>
        </p:nvSpPr>
        <p:spPr bwMode="auto">
          <a:xfrm flipH="1">
            <a:off x="305991" y="3766576"/>
            <a:ext cx="6573218" cy="0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76" name="Line 14"/>
          <p:cNvSpPr>
            <a:spLocks noChangeShapeType="1"/>
          </p:cNvSpPr>
          <p:nvPr/>
        </p:nvSpPr>
        <p:spPr bwMode="auto">
          <a:xfrm flipH="1" flipV="1">
            <a:off x="1443890" y="1696694"/>
            <a:ext cx="5589000" cy="7597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77" name="Line 15"/>
          <p:cNvSpPr>
            <a:spLocks noChangeShapeType="1"/>
          </p:cNvSpPr>
          <p:nvPr/>
        </p:nvSpPr>
        <p:spPr bwMode="auto">
          <a:xfrm flipV="1">
            <a:off x="4637485" y="3766576"/>
            <a:ext cx="0" cy="2412000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79" name="Line 12"/>
          <p:cNvSpPr>
            <a:spLocks noChangeShapeType="1"/>
          </p:cNvSpPr>
          <p:nvPr/>
        </p:nvSpPr>
        <p:spPr bwMode="auto">
          <a:xfrm flipH="1">
            <a:off x="1443891" y="4348136"/>
            <a:ext cx="5589000" cy="1240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0" name="Text Box 10"/>
          <p:cNvSpPr txBox="1">
            <a:spLocks noChangeArrowheads="1"/>
          </p:cNvSpPr>
          <p:nvPr/>
        </p:nvSpPr>
        <p:spPr bwMode="auto">
          <a:xfrm>
            <a:off x="636307" y="4392296"/>
            <a:ext cx="940324" cy="6461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2D3494"/>
                </a:solidFill>
              </a:defRPr>
            </a:lvl1pPr>
          </a:lstStyle>
          <a:p>
            <a:r>
              <a:rPr lang="ru-RU" dirty="0"/>
              <a:t> СРЕДНЕЕ</a:t>
            </a:r>
          </a:p>
          <a:p>
            <a:r>
              <a:rPr lang="ru-RU" dirty="0"/>
              <a:t> (ПОЛНОЕ)</a:t>
            </a:r>
          </a:p>
          <a:p>
            <a:r>
              <a:rPr lang="ru-RU" dirty="0"/>
              <a:t> ОБЩЕЕ</a:t>
            </a:r>
          </a:p>
        </p:txBody>
      </p:sp>
      <p:sp>
        <p:nvSpPr>
          <p:cNvPr id="81" name="Text Box 9"/>
          <p:cNvSpPr txBox="1">
            <a:spLocks noChangeArrowheads="1"/>
          </p:cNvSpPr>
          <p:nvPr/>
        </p:nvSpPr>
        <p:spPr bwMode="auto">
          <a:xfrm>
            <a:off x="1443890" y="1167492"/>
            <a:ext cx="2826728" cy="4308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2D3494"/>
              </a:buCl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УМК  А.А. Плешакова, </a:t>
            </a:r>
          </a:p>
          <a:p>
            <a:pPr algn="ctr">
              <a:buClr>
                <a:srgbClr val="2D3494"/>
              </a:buCl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Н.И. Сонина (5 класс)</a:t>
            </a:r>
          </a:p>
        </p:txBody>
      </p:sp>
      <p:sp>
        <p:nvSpPr>
          <p:cNvPr id="82" name="Text Box 9"/>
          <p:cNvSpPr txBox="1">
            <a:spLocks noChangeArrowheads="1"/>
          </p:cNvSpPr>
          <p:nvPr/>
        </p:nvSpPr>
        <p:spPr bwMode="auto">
          <a:xfrm>
            <a:off x="4688942" y="1167492"/>
            <a:ext cx="2396010" cy="4308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2D3494"/>
              </a:buCl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УМК  В.М. </a:t>
            </a:r>
            <a:r>
              <a:rPr lang="ru-RU" sz="1400" b="1" dirty="0" err="1">
                <a:solidFill>
                  <a:schemeClr val="tx1">
                    <a:lumMod val="90000"/>
                    <a:lumOff val="10000"/>
                  </a:schemeClr>
                </a:solidFill>
              </a:rPr>
              <a:t>Пакуловой</a:t>
            </a:r>
            <a:r>
              <a:rPr lang="ru-RU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,</a:t>
            </a:r>
          </a:p>
          <a:p>
            <a:pPr algn="ctr">
              <a:buClr>
                <a:srgbClr val="2D3494"/>
              </a:buCl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Н.В</a:t>
            </a:r>
            <a:r>
              <a:rPr 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. Ивановой </a:t>
            </a:r>
            <a:r>
              <a:rPr lang="ru-RU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(5 класс)</a:t>
            </a:r>
          </a:p>
        </p:txBody>
      </p:sp>
      <p:sp>
        <p:nvSpPr>
          <p:cNvPr id="84" name="Text Box 9"/>
          <p:cNvSpPr txBox="1">
            <a:spLocks noChangeArrowheads="1"/>
          </p:cNvSpPr>
          <p:nvPr/>
        </p:nvSpPr>
        <p:spPr bwMode="auto">
          <a:xfrm>
            <a:off x="1443890" y="3801004"/>
            <a:ext cx="2826728" cy="4308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2D3494"/>
              </a:buCl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УМК  С.А. Титова и др</a:t>
            </a:r>
            <a:r>
              <a:rPr 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.</a:t>
            </a:r>
          </a:p>
          <a:p>
            <a:pPr algn="ctr">
              <a:buClr>
                <a:srgbClr val="2D3494"/>
              </a:buCl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(базовый уровень)</a:t>
            </a:r>
            <a:endParaRPr lang="ru-RU" sz="1400" b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87" name="Text Box 9"/>
          <p:cNvSpPr txBox="1">
            <a:spLocks noChangeArrowheads="1"/>
          </p:cNvSpPr>
          <p:nvPr/>
        </p:nvSpPr>
        <p:spPr bwMode="auto">
          <a:xfrm>
            <a:off x="4721036" y="3801004"/>
            <a:ext cx="2396010" cy="4308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2D3494"/>
              </a:buCl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УМК  О.С. Габриеляна и др</a:t>
            </a:r>
            <a:r>
              <a:rPr 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.</a:t>
            </a:r>
          </a:p>
          <a:p>
            <a:pPr algn="ctr">
              <a:buClr>
                <a:srgbClr val="2D3494"/>
              </a:buCl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(базовый уровень)</a:t>
            </a:r>
            <a:endParaRPr lang="ru-RU" sz="1400" b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88" name="Line 15"/>
          <p:cNvSpPr>
            <a:spLocks noChangeShapeType="1"/>
          </p:cNvSpPr>
          <p:nvPr/>
        </p:nvSpPr>
        <p:spPr bwMode="auto">
          <a:xfrm flipV="1">
            <a:off x="1564921" y="1217143"/>
            <a:ext cx="1191" cy="5219700"/>
          </a:xfrm>
          <a:prstGeom prst="line">
            <a:avLst/>
          </a:prstGeom>
          <a:noFill/>
          <a:ln w="9360" cap="sq">
            <a:solidFill>
              <a:srgbClr val="2D3494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9" name="Заголовок 6"/>
          <p:cNvSpPr>
            <a:spLocks noGrp="1"/>
          </p:cNvSpPr>
          <p:nvPr>
            <p:ph type="title"/>
          </p:nvPr>
        </p:nvSpPr>
        <p:spPr>
          <a:xfrm>
            <a:off x="250825" y="109816"/>
            <a:ext cx="8639999" cy="766876"/>
          </a:xfrm>
        </p:spPr>
        <p:txBody>
          <a:bodyPr/>
          <a:lstStyle/>
          <a:p>
            <a:r>
              <a:rPr lang="ru-RU" dirty="0"/>
              <a:t>ТЕКУЩИЙ ПОРТФЕЛЬ КОРПОРАЦИИ «РОССИЙСКИЙ УЧЕБНИК» </a:t>
            </a:r>
            <a:br>
              <a:rPr lang="ru-RU" dirty="0"/>
            </a:br>
            <a:r>
              <a:rPr lang="ru-RU" dirty="0">
                <a:solidFill>
                  <a:srgbClr val="EB2049"/>
                </a:solidFill>
              </a:rPr>
              <a:t>ПО ЕСТЕСТВОЗНАНИЮ, ДОСТУПНЫЙ ДЛЯ </a:t>
            </a:r>
            <a:r>
              <a:rPr lang="ru-RU" dirty="0" smtClean="0">
                <a:solidFill>
                  <a:srgbClr val="EB2049"/>
                </a:solidFill>
              </a:rPr>
              <a:t>ЗАКУПКИ</a:t>
            </a:r>
            <a:endParaRPr lang="ru-RU" dirty="0">
              <a:solidFill>
                <a:srgbClr val="EB2049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44388" y="983925"/>
            <a:ext cx="288032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b="1" i="1" cap="all" dirty="0" smtClean="0">
                <a:solidFill>
                  <a:schemeClr val="accent5">
                    <a:lumMod val="50000"/>
                  </a:schemeClr>
                </a:solidFill>
                <a:latin typeface="+mj-lt"/>
              </a:rPr>
              <a:t>			</a:t>
            </a:r>
            <a:r>
              <a:rPr lang="ru-RU" sz="1400" b="1" i="1" cap="all" dirty="0" smtClean="0">
                <a:latin typeface="Cambria" pitchFamily="18" charset="0"/>
              </a:rPr>
              <a:t> </a:t>
            </a:r>
            <a:r>
              <a:rPr lang="ru-RU" sz="2400" b="1" i="1" cap="all" dirty="0" smtClean="0">
                <a:solidFill>
                  <a:schemeClr val="bg2">
                    <a:lumMod val="75000"/>
                  </a:schemeClr>
                </a:solidFill>
                <a:latin typeface="Cambria" pitchFamily="18" charset="0"/>
              </a:rPr>
              <a:t>естествознание</a:t>
            </a:r>
            <a:endParaRPr lang="ru-RU" sz="2400" b="1" i="1" cap="all" dirty="0">
              <a:solidFill>
                <a:schemeClr val="bg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4" name="Прямоугольник 22"/>
          <p:cNvSpPr>
            <a:spLocks noChangeArrowheads="1"/>
          </p:cNvSpPr>
          <p:nvPr/>
        </p:nvSpPr>
        <p:spPr bwMode="auto">
          <a:xfrm>
            <a:off x="107505" y="4653162"/>
            <a:ext cx="253062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Линия 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УМК </a:t>
            </a:r>
          </a:p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О. С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. 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Габриелян; </a:t>
            </a:r>
          </a:p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Н. С. </a:t>
            </a:r>
            <a:r>
              <a:rPr lang="ru-RU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Пурышева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; </a:t>
            </a:r>
          </a:p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В. И. </a:t>
            </a:r>
            <a:r>
              <a:rPr lang="ru-RU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Сивоглазов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и др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.</a:t>
            </a:r>
            <a:endParaRPr lang="ru-RU" b="1" dirty="0">
              <a:solidFill>
                <a:schemeClr val="tx1">
                  <a:lumMod val="95000"/>
                  <a:lumOff val="5000"/>
                </a:schemeClr>
              </a:solidFill>
              <a:latin typeface="Cambria" pitchFamily="18" charset="0"/>
            </a:endParaRPr>
          </a:p>
        </p:txBody>
      </p:sp>
      <p:sp>
        <p:nvSpPr>
          <p:cNvPr id="15" name="Прямоугольник 22"/>
          <p:cNvSpPr>
            <a:spLocks noChangeArrowheads="1"/>
          </p:cNvSpPr>
          <p:nvPr/>
        </p:nvSpPr>
        <p:spPr bwMode="auto">
          <a:xfrm>
            <a:off x="6553200" y="4581154"/>
            <a:ext cx="25908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Линия 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УМК </a:t>
            </a:r>
          </a:p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С. А. Титов;</a:t>
            </a:r>
          </a:p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 И. Б. Агафонова; </a:t>
            </a:r>
          </a:p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В. И. </a:t>
            </a:r>
            <a:r>
              <a:rPr lang="ru-RU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Сивоглазов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 и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др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.</a:t>
            </a:r>
            <a:endParaRPr lang="ru-RU" b="1" dirty="0">
              <a:solidFill>
                <a:schemeClr val="tx1">
                  <a:lumMod val="95000"/>
                  <a:lumOff val="5000"/>
                </a:schemeClr>
              </a:solidFill>
              <a:latin typeface="Cambria" pitchFamily="18" charset="0"/>
            </a:endParaRPr>
          </a:p>
        </p:txBody>
      </p:sp>
      <p:sp>
        <p:nvSpPr>
          <p:cNvPr id="18" name="object 2"/>
          <p:cNvSpPr txBox="1">
            <a:spLocks noGrp="1"/>
          </p:cNvSpPr>
          <p:nvPr>
            <p:ph type="title"/>
          </p:nvPr>
        </p:nvSpPr>
        <p:spPr>
          <a:xfrm>
            <a:off x="467544" y="476692"/>
            <a:ext cx="822960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3200" spc="-5" dirty="0" smtClean="0">
                <a:latin typeface="Cambria" pitchFamily="18" charset="0"/>
              </a:rPr>
              <a:t>ФПУ  от 28.12.2018г. № 345</a:t>
            </a:r>
            <a:endParaRPr sz="3200" spc="-5" dirty="0">
              <a:latin typeface="Cambria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754016" y="2386626"/>
            <a:ext cx="372616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buFont typeface="Wingdings" pitchFamily="2" charset="2"/>
              <a:buChar char="Ø"/>
              <a:defRPr/>
            </a:pPr>
            <a:r>
              <a:rPr lang="ru-RU" sz="1200" dirty="0" smtClean="0">
                <a:cs typeface="Arial" pitchFamily="34" charset="0"/>
              </a:rPr>
              <a:t>Учебный курс «Естествознание»  адресован учащимся 10 – 11 классов общеобразовательных учреждений и классов социально – экономического, гуманитарного, информационно – технологического профиля</a:t>
            </a:r>
          </a:p>
          <a:p>
            <a:pPr>
              <a:lnSpc>
                <a:spcPct val="120000"/>
              </a:lnSpc>
              <a:defRPr/>
            </a:pPr>
            <a:endParaRPr lang="ru-RU" sz="1200" dirty="0" smtClean="0">
              <a:cs typeface="Arial" pitchFamily="34" charset="0"/>
            </a:endParaRPr>
          </a:p>
          <a:p>
            <a:pPr>
              <a:lnSpc>
                <a:spcPct val="120000"/>
              </a:lnSpc>
              <a:buFont typeface="Wingdings" pitchFamily="2" charset="2"/>
              <a:buChar char="Ø"/>
              <a:defRPr/>
            </a:pPr>
            <a:r>
              <a:rPr lang="ru-RU" sz="1200" dirty="0" smtClean="0">
                <a:cs typeface="Arial" pitchFamily="34" charset="0"/>
              </a:rPr>
              <a:t>Рассматривает объекты и явления естественного мира в гармонии физики, химии, биологии, астрологии, географии и экологии</a:t>
            </a:r>
          </a:p>
          <a:p>
            <a:pPr>
              <a:lnSpc>
                <a:spcPct val="120000"/>
              </a:lnSpc>
              <a:defRPr/>
            </a:pPr>
            <a:endParaRPr lang="ru-RU" sz="1200" dirty="0" smtClean="0">
              <a:cs typeface="Arial" pitchFamily="34" charset="0"/>
            </a:endParaRPr>
          </a:p>
          <a:p>
            <a:pPr>
              <a:lnSpc>
                <a:spcPct val="120000"/>
              </a:lnSpc>
              <a:buFont typeface="Wingdings" pitchFamily="2" charset="2"/>
              <a:buChar char="Ø"/>
              <a:defRPr/>
            </a:pPr>
            <a:r>
              <a:rPr lang="ru-RU" sz="1200" dirty="0" smtClean="0">
                <a:cs typeface="Arial" pitchFamily="34" charset="0"/>
              </a:rPr>
              <a:t>Курс ориентирован на формирование у обучающихся целостного восприятия окружающего мира и эмоционально -  ценностного отношения к изучаемому материалу, установление смысла и значения содержания объектов и явлений природы</a:t>
            </a:r>
            <a:endParaRPr lang="ru-RU" sz="1200" dirty="0"/>
          </a:p>
        </p:txBody>
      </p:sp>
      <p:pic>
        <p:nvPicPr>
          <p:cNvPr id="21" name="Рисунок 20" descr="Естествознание. Базовый уровень. 10 класс. Учебник">
            <a:hlinkClick r:id="rId2"/>
          </p:cNvPr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700808"/>
            <a:ext cx="1296144" cy="1872208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22" name="Рисунок 21" descr="Естествознание. Базовый уровень. 11 класс. Учебник">
            <a:hlinkClick r:id="rId4"/>
          </p:cNvPr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87626" y="2420888"/>
            <a:ext cx="1368152" cy="1872208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23" name="Рисунок 22" descr="Естествознание.Базовый уровень.10кл.ВЕРТИКАЛЬ (перераб.)">
            <a:hlinkClick r:id="rId6"/>
          </p:cNvPr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16216" y="1700808"/>
            <a:ext cx="1296144" cy="1872208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24" name="Рисунок 23" descr="Естествознание.Базовый уровень.11кл.ВЕРТИКАЛЬ">
            <a:hlinkClick r:id="rId8"/>
          </p:cNvPr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596336" y="2492896"/>
            <a:ext cx="1273788" cy="1872208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sp>
        <p:nvSpPr>
          <p:cNvPr id="13" name="Пятиугольник 12"/>
          <p:cNvSpPr/>
          <p:nvPr/>
        </p:nvSpPr>
        <p:spPr>
          <a:xfrm>
            <a:off x="323530" y="764704"/>
            <a:ext cx="1368152" cy="4572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Cambria" pitchFamily="18" charset="0"/>
              </a:rPr>
              <a:t>10-11</a:t>
            </a:r>
            <a:endParaRPr lang="ru-RU" sz="2800" b="1" dirty="0">
              <a:latin typeface="Cambria" pitchFamily="18" charset="0"/>
            </a:endParaRPr>
          </a:p>
        </p:txBody>
      </p:sp>
      <p:cxnSp>
        <p:nvCxnSpPr>
          <p:cNvPr id="16" name="Прямая соединительная линия 15"/>
          <p:cNvCxnSpPr>
            <a:stCxn id="13" idx="3"/>
          </p:cNvCxnSpPr>
          <p:nvPr/>
        </p:nvCxnSpPr>
        <p:spPr>
          <a:xfrm flipV="1">
            <a:off x="1691680" y="980728"/>
            <a:ext cx="7200800" cy="12576"/>
          </a:xfrm>
          <a:prstGeom prst="line">
            <a:avLst/>
          </a:prstGeom>
          <a:ln w="47625" cmpd="thickThin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ЧТО ОКРУЖАЕТ УЧИТЕЛЯ СЕГОДНЯ?">
            <a:extLst>
              <a:ext uri="{FF2B5EF4-FFF2-40B4-BE49-F238E27FC236}">
                <a16:creationId xmlns="" xmlns:a16="http://schemas.microsoft.com/office/drawing/2014/main" id="{730CB329-53B8-0E48-BB1A-E579FB7AC5A7}"/>
              </a:ext>
            </a:extLst>
          </p:cNvPr>
          <p:cNvSpPr txBox="1"/>
          <p:nvPr/>
        </p:nvSpPr>
        <p:spPr>
          <a:xfrm>
            <a:off x="1491320" y="3022195"/>
            <a:ext cx="3409299" cy="8477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7000" tIns="54000" rIns="54000" bIns="54000" anchor="ctr">
            <a:spAutoFit/>
          </a:bodyPr>
          <a:lstStyle/>
          <a:p>
            <a:pPr>
              <a:lnSpc>
                <a:spcPct val="80000"/>
              </a:lnSpc>
            </a:pPr>
            <a:r>
              <a:rPr lang="ru-RU" sz="3000" b="1" dirty="0">
                <a:solidFill>
                  <a:srgbClr val="2D3494"/>
                </a:solidFill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НАША</a:t>
            </a:r>
          </a:p>
          <a:p>
            <a:pPr>
              <a:lnSpc>
                <a:spcPct val="80000"/>
              </a:lnSpc>
            </a:pPr>
            <a:r>
              <a:rPr lang="ru-RU" sz="3000" b="1" dirty="0">
                <a:solidFill>
                  <a:srgbClr val="2D3494"/>
                </a:solidFill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ПОДДЕРЖКА</a:t>
            </a:r>
          </a:p>
        </p:txBody>
      </p:sp>
      <p:pic>
        <p:nvPicPr>
          <p:cNvPr id="6" name="Изображение" descr="Изображение">
            <a:extLst>
              <a:ext uri="{FF2B5EF4-FFF2-40B4-BE49-F238E27FC236}">
                <a16:creationId xmlns:a16="http://schemas.microsoft.com/office/drawing/2014/main" xmlns="" id="{43CEEF2F-C701-0145-9D58-FC6EE7DDF96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-1004"/>
          <a:stretch/>
        </p:blipFill>
        <p:spPr>
          <a:xfrm>
            <a:off x="4757092" y="1668721"/>
            <a:ext cx="2730752" cy="3413441"/>
          </a:xfrm>
          <a:prstGeom prst="roundRect">
            <a:avLst>
              <a:gd name="adj" fmla="val 0"/>
            </a:avLst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xmlns="" val="308816847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246"/>
          <p:cNvSpPr txBox="1">
            <a:spLocks noGrp="1"/>
          </p:cNvSpPr>
          <p:nvPr>
            <p:ph type="title"/>
          </p:nvPr>
        </p:nvSpPr>
        <p:spPr>
          <a:xfrm>
            <a:off x="155275" y="339516"/>
            <a:ext cx="8735550" cy="95728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lvl="0">
              <a:buClr>
                <a:schemeClr val="dk1"/>
              </a:buClr>
              <a:buSzPct val="25000"/>
            </a:pPr>
            <a:r>
              <a:rPr lang="ru-RU" sz="2400" dirty="0" smtClean="0">
                <a:latin typeface="+mj-lt"/>
                <a:sym typeface="HeliosCompressed"/>
              </a:rPr>
              <a:t>       Сайт корпорации  </a:t>
            </a:r>
            <a:r>
              <a:rPr lang="ru-RU" sz="2400" dirty="0" smtClean="0">
                <a:solidFill>
                  <a:srgbClr val="FF0000"/>
                </a:solidFill>
                <a:latin typeface="+mj-lt"/>
                <a:sym typeface="HeliosCompressed"/>
              </a:rPr>
              <a:t>«РОССИЙСКИЙ УЧЕБНИК»  </a:t>
            </a:r>
            <a:r>
              <a:rPr lang="en-US" sz="2400" dirty="0" smtClean="0"/>
              <a:t>rosuchebnik.ru</a:t>
            </a:r>
            <a:r>
              <a:rPr lang="ru-RU" sz="3600" b="1" dirty="0" smtClean="0"/>
              <a:t/>
            </a:r>
            <a:br>
              <a:rPr lang="ru-RU" sz="3600" b="1" dirty="0" smtClean="0"/>
            </a:br>
            <a:r>
              <a:rPr lang="ru-RU" sz="2400" dirty="0" smtClean="0"/>
              <a:t> </a:t>
            </a:r>
            <a:r>
              <a:rPr lang="ru-RU" sz="2000" dirty="0" smtClean="0">
                <a:latin typeface="+mj-lt"/>
                <a:sym typeface="HeliosCompressed"/>
              </a:rPr>
              <a:t>неограниченное по объему личное информационно-образовательное 	  		пространство для методического портфеля учителя</a:t>
            </a:r>
            <a:endParaRPr lang="en-US" sz="2000" dirty="0" smtClean="0">
              <a:latin typeface="+mj-lt"/>
              <a:sym typeface="HeliosCompressed"/>
            </a:endParaRPr>
          </a:p>
        </p:txBody>
      </p:sp>
      <p:sp>
        <p:nvSpPr>
          <p:cNvPr id="248" name="Shape 248"/>
          <p:cNvSpPr txBox="1">
            <a:spLocks noGrp="1"/>
          </p:cNvSpPr>
          <p:nvPr>
            <p:ph type="sldNum" sz="quarter" idx="12"/>
          </p:nvPr>
        </p:nvSpPr>
        <p:spPr>
          <a:xfrm>
            <a:off x="6516216" y="6237338"/>
            <a:ext cx="2133600" cy="365125"/>
          </a:xfrm>
          <a:prstGeom prst="rect">
            <a:avLst/>
          </a:prstGeom>
        </p:spPr>
        <p:txBody>
          <a:bodyPr lIns="91425" tIns="45700" rIns="91425" bIns="45700" anchor="ctr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>
                <a:solidFill>
                  <a:srgbClr val="888888"/>
                </a:solidFill>
              </a:rPr>
              <a:pPr lvl="0">
                <a:spcBef>
                  <a:spcPts val="0"/>
                </a:spcBef>
                <a:buClr>
                  <a:srgbClr val="000000"/>
                </a:buClr>
                <a:buSzPct val="25000"/>
                <a:buFont typeface="Arial"/>
                <a:buNone/>
              </a:pPr>
              <a:t>33</a:t>
            </a:fld>
            <a:endParaRPr lang="en-US" sz="1200">
              <a:solidFill>
                <a:srgbClr val="888888"/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/>
          <a:srcRect l="9061" t="4854" r="11974" b="7767"/>
          <a:stretch>
            <a:fillRect/>
          </a:stretch>
        </p:blipFill>
        <p:spPr bwMode="auto">
          <a:xfrm>
            <a:off x="314913" y="1856811"/>
            <a:ext cx="4267141" cy="377746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 cstate="print"/>
          <a:srcRect l="11111" t="6944" r="5556" b="16667"/>
          <a:stretch>
            <a:fillRect/>
          </a:stretch>
        </p:blipFill>
        <p:spPr bwMode="auto">
          <a:xfrm>
            <a:off x="4765155" y="3466866"/>
            <a:ext cx="3927709" cy="288032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9" name="Рисунок 8"/>
          <p:cNvPicPr/>
          <p:nvPr/>
        </p:nvPicPr>
        <p:blipFill>
          <a:blip r:embed="rId5" cstate="print"/>
          <a:srcRect l="1603" t="10622" r="2512" b="4409"/>
          <a:stretch>
            <a:fillRect/>
          </a:stretch>
        </p:blipFill>
        <p:spPr bwMode="auto">
          <a:xfrm>
            <a:off x="5055080" y="1423359"/>
            <a:ext cx="3200399" cy="192369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6944131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3080" y="157702"/>
            <a:ext cx="7426858" cy="785818"/>
          </a:xfrm>
        </p:spPr>
        <p:txBody>
          <a:bodyPr>
            <a:noAutofit/>
          </a:bodyPr>
          <a:lstStyle/>
          <a:p>
            <a:r>
              <a:rPr lang="ru-RU" sz="2800" b="1" dirty="0" smtClean="0"/>
              <a:t>	      Для учителя  на сайте издательства</a:t>
            </a:r>
            <a:br>
              <a:rPr lang="ru-RU" sz="2800" b="1" dirty="0" smtClean="0"/>
            </a:br>
            <a:r>
              <a:rPr lang="ru-RU" sz="2800" b="1" dirty="0" smtClean="0"/>
              <a:t>           Методическая помощь   </a:t>
            </a:r>
            <a:r>
              <a:rPr lang="en-US" sz="2800" dirty="0" smtClean="0"/>
              <a:t>rosuchebnik.ru</a:t>
            </a:r>
            <a:endParaRPr lang="ru-RU" sz="2800" dirty="0"/>
          </a:p>
        </p:txBody>
      </p:sp>
      <p:pic>
        <p:nvPicPr>
          <p:cNvPr id="5" name="Picture 1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/>
          <a:srcRect l="10318" t="4836" r="9724" b="14560"/>
          <a:stretch>
            <a:fillRect/>
          </a:stretch>
        </p:blipFill>
        <p:spPr bwMode="auto">
          <a:xfrm>
            <a:off x="5710687" y="3726222"/>
            <a:ext cx="2760454" cy="2229037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6" name="Рисунок 5"/>
          <p:cNvPicPr/>
          <p:nvPr/>
        </p:nvPicPr>
        <p:blipFill>
          <a:blip r:embed="rId3" cstate="print"/>
          <a:srcRect l="7055" t="8617" r="10529" b="8298"/>
          <a:stretch>
            <a:fillRect/>
          </a:stretch>
        </p:blipFill>
        <p:spPr bwMode="auto">
          <a:xfrm>
            <a:off x="6202391" y="2855344"/>
            <a:ext cx="2518911" cy="206171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7" name="Рисунок 6"/>
          <p:cNvPicPr/>
          <p:nvPr/>
        </p:nvPicPr>
        <p:blipFill>
          <a:blip r:embed="rId4" cstate="print"/>
          <a:srcRect l="7536" t="14629" r="10850" b="13026"/>
          <a:stretch>
            <a:fillRect/>
          </a:stretch>
        </p:blipFill>
        <p:spPr bwMode="auto">
          <a:xfrm>
            <a:off x="6719977" y="1923693"/>
            <a:ext cx="2277376" cy="206171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5" cstate="print"/>
          <a:srcRect l="10739" t="1679" r="11827"/>
          <a:stretch>
            <a:fillRect/>
          </a:stretch>
        </p:blipFill>
        <p:spPr bwMode="auto">
          <a:xfrm>
            <a:off x="112143" y="1285337"/>
            <a:ext cx="5531130" cy="403967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215660" y="152400"/>
            <a:ext cx="8410755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rPr>
              <a:t>	Рабочие программы и методические пособия 	    на сайте </a:t>
            </a:r>
            <a:r>
              <a:rPr lang="en-US" sz="2800" b="1" dirty="0" smtClean="0">
                <a:solidFill>
                  <a:srgbClr val="2D3494"/>
                </a:solidFill>
                <a:latin typeface="Calibri" panose="020F0502020204030204" pitchFamily="34" charset="0"/>
                <a:hlinkClick r:id="rId2"/>
              </a:rPr>
              <a:t>https://rosuchebnik.ru/</a:t>
            </a:r>
            <a:r>
              <a:rPr lang="ru-RU" sz="2800" b="1" dirty="0" smtClean="0">
                <a:solidFill>
                  <a:srgbClr val="2D3494"/>
                </a:solidFill>
                <a:latin typeface="Calibri" panose="020F0502020204030204" pitchFamily="34" charset="0"/>
              </a:rPr>
              <a:t> </a:t>
            </a:r>
            <a:endParaRPr lang="ru-RU" sz="2800" b="1" dirty="0" smtClean="0">
              <a:solidFill>
                <a:srgbClr val="2D3494"/>
              </a:solidFill>
              <a:latin typeface="Calibri" panose="020F0502020204030204" pitchFamily="34" charset="0"/>
              <a:ea typeface="+mj-ea"/>
              <a:cs typeface="+mj-cs"/>
            </a:endParaRPr>
          </a:p>
          <a:p>
            <a:r>
              <a:rPr lang="en-US" dirty="0" smtClean="0"/>
              <a:t> </a:t>
            </a:r>
            <a:endParaRPr lang="ru-RU" dirty="0"/>
          </a:p>
        </p:txBody>
      </p:sp>
      <p:pic>
        <p:nvPicPr>
          <p:cNvPr id="15" name="Picture 1"/>
          <p:cNvPicPr>
            <a:picLocks noChangeAspect="1" noChangeArrowheads="1"/>
          </p:cNvPicPr>
          <p:nvPr/>
        </p:nvPicPr>
        <p:blipFill>
          <a:blip r:embed="rId3" cstate="print"/>
          <a:srcRect l="3306" t="10193" r="2149" b="2824"/>
          <a:stretch>
            <a:fillRect/>
          </a:stretch>
        </p:blipFill>
        <p:spPr bwMode="auto">
          <a:xfrm>
            <a:off x="252013" y="1271634"/>
            <a:ext cx="4250405" cy="312835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5" name="Рисунок 4" descr="Биология. 10–11 классы. Рабочие программы">
            <a:hlinkClick r:id="rId4" tooltip="&quot;Биология. 10–11 классы. Рабочие программы&quot;"/>
          </p:cNvPr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0396" y="4675516"/>
            <a:ext cx="1211589" cy="156471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11" name="Рисунок 10" descr="Биология. 5-11 классы. Рабочая программа (с CD-диском)">
            <a:hlinkClick r:id="rId6" tooltip="&quot;Биология. 5-11 классы. Рабочая программа (с CD-диском)&quot;"/>
          </p:cNvPr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51163" y="4633789"/>
            <a:ext cx="1234130" cy="1637615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13" name="Рисунок 12"/>
          <p:cNvPicPr/>
          <p:nvPr/>
        </p:nvPicPr>
        <p:blipFill>
          <a:blip r:embed="rId8" cstate="print"/>
          <a:srcRect l="1764" t="12024" r="34377" b="4208"/>
          <a:stretch>
            <a:fillRect/>
          </a:stretch>
        </p:blipFill>
        <p:spPr bwMode="auto">
          <a:xfrm>
            <a:off x="3382667" y="1690777"/>
            <a:ext cx="3156156" cy="3617273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14" name="Рисунок 13"/>
          <p:cNvPicPr/>
          <p:nvPr/>
        </p:nvPicPr>
        <p:blipFill>
          <a:blip r:embed="rId9" cstate="print"/>
          <a:srcRect l="4490" t="11022" r="32015" b="3607"/>
          <a:stretch>
            <a:fillRect/>
          </a:stretch>
        </p:blipFill>
        <p:spPr bwMode="auto">
          <a:xfrm>
            <a:off x="5684807" y="2173855"/>
            <a:ext cx="3157267" cy="376974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dirty="0" smtClean="0"/>
              <a:t>Наглядные и раздаточные материалы по биологии</a:t>
            </a:r>
            <a:endParaRPr lang="ru-RU" sz="2800" dirty="0"/>
          </a:p>
        </p:txBody>
      </p:sp>
      <p:pic>
        <p:nvPicPr>
          <p:cNvPr id="4" name="Содержимое 3"/>
          <p:cNvPicPr>
            <a:picLocks noGrp="1"/>
          </p:cNvPicPr>
          <p:nvPr>
            <p:ph idx="4294967295"/>
          </p:nvPr>
        </p:nvPicPr>
        <p:blipFill>
          <a:blip r:embed="rId2" cstate="print"/>
          <a:srcRect l="3223" t="33601" r="5030" b="12584"/>
          <a:stretch>
            <a:fillRect/>
          </a:stretch>
        </p:blipFill>
        <p:spPr bwMode="auto">
          <a:xfrm>
            <a:off x="189782" y="1372828"/>
            <a:ext cx="3587750" cy="187325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5" name="Рисунок 4"/>
          <p:cNvPicPr/>
          <p:nvPr/>
        </p:nvPicPr>
        <p:blipFill>
          <a:blip r:embed="rId3" cstate="print"/>
          <a:srcRect l="1803" t="5532" r="2481" b="15880"/>
          <a:stretch>
            <a:fillRect/>
          </a:stretch>
        </p:blipFill>
        <p:spPr bwMode="auto">
          <a:xfrm>
            <a:off x="392552" y="3527781"/>
            <a:ext cx="3273509" cy="2657674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6" name="Рисунок 5"/>
          <p:cNvPicPr/>
          <p:nvPr/>
        </p:nvPicPr>
        <p:blipFill>
          <a:blip r:embed="rId4" cstate="print"/>
          <a:srcRect l="919" t="6416" r="1276" b="7965"/>
          <a:stretch>
            <a:fillRect/>
          </a:stretch>
        </p:blipFill>
        <p:spPr bwMode="auto">
          <a:xfrm>
            <a:off x="3932556" y="1333233"/>
            <a:ext cx="5076056" cy="396044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-1758461" y="0"/>
            <a:ext cx="7125562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	</a:t>
            </a:r>
            <a:r>
              <a:rPr lang="ru-RU" sz="3600" b="1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	   </a:t>
            </a:r>
            <a:r>
              <a:rPr lang="ru-RU" sz="2800" b="1" dirty="0" smtClean="0">
                <a:solidFill>
                  <a:srgbClr val="185CA4"/>
                </a:solidFill>
                <a:latin typeface="Calibri" panose="020F0502020204030204" pitchFamily="34" charset="0"/>
                <a:ea typeface="+mj-ea"/>
                <a:cs typeface="+mj-cs"/>
              </a:rPr>
              <a:t>Методическая помощь 			          </a:t>
            </a:r>
            <a:r>
              <a:rPr lang="en-US" sz="2800" b="1" dirty="0" smtClean="0">
                <a:solidFill>
                  <a:srgbClr val="185CA4"/>
                </a:solidFill>
                <a:latin typeface="Calibri" panose="020F0502020204030204" pitchFamily="34" charset="0"/>
                <a:ea typeface="+mj-ea"/>
                <a:cs typeface="+mj-cs"/>
              </a:rPr>
              <a:t>rosuchebnik.ru </a:t>
            </a:r>
            <a:r>
              <a:rPr lang="ru-RU" sz="3600" b="1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/>
            </a:r>
            <a:br>
              <a:rPr lang="ru-RU" sz="3600" b="1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rPr>
            </a:br>
            <a:r>
              <a:rPr lang="ru-RU" sz="3600" b="1" dirty="0" smtClean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               </a:t>
            </a:r>
            <a:r>
              <a:rPr lang="ru-RU" sz="3600" b="1" dirty="0" smtClean="0">
                <a:solidFill>
                  <a:schemeClr val="bg2">
                    <a:lumMod val="75000"/>
                  </a:schemeClr>
                </a:solidFill>
              </a:rPr>
              <a:t/>
            </a:r>
            <a:br>
              <a:rPr lang="ru-RU" sz="3600" b="1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ru-RU" sz="3600" b="1" dirty="0" smtClean="0">
                <a:solidFill>
                  <a:schemeClr val="bg1"/>
                </a:solidFill>
              </a:rPr>
              <a:t>                Методическая помощь</a:t>
            </a:r>
          </a:p>
          <a:p>
            <a:r>
              <a:rPr lang="ru-RU" sz="36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Методическая помощь</a:t>
            </a:r>
          </a:p>
        </p:txBody>
      </p:sp>
      <p:pic>
        <p:nvPicPr>
          <p:cNvPr id="11" name="Рисунок 10"/>
          <p:cNvPicPr/>
          <p:nvPr/>
        </p:nvPicPr>
        <p:blipFill>
          <a:blip r:embed="rId2" cstate="print"/>
          <a:srcRect l="2693" t="36082" r="9433" b="13002"/>
          <a:stretch>
            <a:fillRect/>
          </a:stretch>
        </p:blipFill>
        <p:spPr bwMode="auto">
          <a:xfrm>
            <a:off x="114300" y="1239879"/>
            <a:ext cx="5433646" cy="3006806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6" name="Рисунок 5"/>
          <p:cNvPicPr/>
          <p:nvPr/>
        </p:nvPicPr>
        <p:blipFill>
          <a:blip r:embed="rId3" cstate="print"/>
          <a:srcRect l="11705" t="5411" r="5398" b="78357"/>
          <a:stretch>
            <a:fillRect/>
          </a:stretch>
        </p:blipFill>
        <p:spPr bwMode="auto">
          <a:xfrm>
            <a:off x="3999767" y="1126512"/>
            <a:ext cx="4924425" cy="77152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4273061" y="773723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dirty="0" smtClean="0">
                <a:solidFill>
                  <a:schemeClr val="bg2"/>
                </a:solidFill>
                <a:sym typeface="HeliosCompressed"/>
              </a:rPr>
              <a:t>Федеральный проект </a:t>
            </a:r>
            <a:r>
              <a:rPr lang="ru-RU" dirty="0" smtClean="0">
                <a:solidFill>
                  <a:schemeClr val="bg2"/>
                </a:solidFill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«Учитель будущего»</a:t>
            </a:r>
            <a:endParaRPr lang="ru-RU" dirty="0">
              <a:solidFill>
                <a:schemeClr val="bg2"/>
              </a:solidFill>
            </a:endParaRPr>
          </a:p>
        </p:txBody>
      </p:sp>
      <p:pic>
        <p:nvPicPr>
          <p:cNvPr id="10" name="Рисунок 9"/>
          <p:cNvPicPr/>
          <p:nvPr/>
        </p:nvPicPr>
        <p:blipFill>
          <a:blip r:embed="rId4" cstate="print"/>
          <a:srcRect l="2405" t="13226" r="3955" b="21443"/>
          <a:stretch>
            <a:fillRect/>
          </a:stretch>
        </p:blipFill>
        <p:spPr bwMode="auto">
          <a:xfrm>
            <a:off x="4665784" y="3323492"/>
            <a:ext cx="3959469" cy="2159244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12" name="Рисунок 11"/>
          <p:cNvPicPr/>
          <p:nvPr/>
        </p:nvPicPr>
        <p:blipFill>
          <a:blip r:embed="rId5" cstate="print"/>
          <a:srcRect l="3047" t="13627" r="4115" b="23848"/>
          <a:stretch>
            <a:fillRect/>
          </a:stretch>
        </p:blipFill>
        <p:spPr bwMode="auto">
          <a:xfrm>
            <a:off x="671511" y="4369778"/>
            <a:ext cx="3759812" cy="218049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9782" y="105943"/>
            <a:ext cx="5184475" cy="785818"/>
          </a:xfrm>
        </p:spPr>
        <p:txBody>
          <a:bodyPr>
            <a:normAutofit fontScale="90000"/>
          </a:bodyPr>
          <a:lstStyle/>
          <a:p>
            <a:r>
              <a:rPr lang="ru-RU" sz="2200" dirty="0" smtClean="0">
                <a:solidFill>
                  <a:srgbClr val="1D1F81"/>
                </a:solidFill>
              </a:rPr>
              <a:t>ВЕБИНАРЫ </a:t>
            </a:r>
            <a:br>
              <a:rPr lang="ru-RU" sz="2200" dirty="0" smtClean="0">
                <a:solidFill>
                  <a:srgbClr val="1D1F81"/>
                </a:solidFill>
              </a:rPr>
            </a:br>
            <a:r>
              <a:rPr lang="ru-RU" sz="2200" dirty="0" smtClean="0">
                <a:solidFill>
                  <a:srgbClr val="1D1F81"/>
                </a:solidFill>
              </a:rPr>
              <a:t>с возможностью получения сертификата </a:t>
            </a:r>
            <a:br>
              <a:rPr lang="ru-RU" sz="2200" dirty="0" smtClean="0">
                <a:solidFill>
                  <a:srgbClr val="1D1F81"/>
                </a:solidFill>
              </a:rPr>
            </a:br>
            <a:r>
              <a:rPr lang="ru-RU" sz="2200" dirty="0" smtClean="0">
                <a:solidFill>
                  <a:srgbClr val="1D1F81"/>
                </a:solidFill>
              </a:rPr>
              <a:t>и методических материалов</a:t>
            </a:r>
            <a:endParaRPr lang="ru-RU" sz="2200" dirty="0">
              <a:solidFill>
                <a:srgbClr val="1D1F81"/>
              </a:solidFill>
            </a:endParaRPr>
          </a:p>
        </p:txBody>
      </p:sp>
      <p:pic>
        <p:nvPicPr>
          <p:cNvPr id="4" name="Picture 4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/>
          <a:srcRect l="5020" t="5168" r="4911" b="21005"/>
          <a:stretch>
            <a:fillRect/>
          </a:stretch>
        </p:blipFill>
        <p:spPr bwMode="auto">
          <a:xfrm>
            <a:off x="405442" y="4272012"/>
            <a:ext cx="2984739" cy="199334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7" name="Picture 3" descr="E:\Users\DolgenkovaNO\Desktop\F899-BB2C-7894-36F9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50152" y="4203836"/>
            <a:ext cx="1728192" cy="244415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9" name="Рисунок 8"/>
          <p:cNvPicPr/>
          <p:nvPr/>
        </p:nvPicPr>
        <p:blipFill>
          <a:blip r:embed="rId4" cstate="print"/>
          <a:srcRect t="15538" b="17210"/>
          <a:stretch>
            <a:fillRect/>
          </a:stretch>
        </p:blipFill>
        <p:spPr bwMode="auto">
          <a:xfrm>
            <a:off x="4995058" y="810883"/>
            <a:ext cx="3816424" cy="222643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11" name="Прямоугольник 10"/>
          <p:cNvSpPr/>
          <p:nvPr/>
        </p:nvSpPr>
        <p:spPr>
          <a:xfrm>
            <a:off x="6660245" y="836712"/>
            <a:ext cx="16165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rosuchebnik.ru</a:t>
            </a:r>
            <a:endParaRPr lang="ru-RU" dirty="0"/>
          </a:p>
        </p:txBody>
      </p:sp>
      <p:pic>
        <p:nvPicPr>
          <p:cNvPr id="13" name="Рисунок 12"/>
          <p:cNvPicPr/>
          <p:nvPr/>
        </p:nvPicPr>
        <p:blipFill>
          <a:blip r:embed="rId5" cstate="print"/>
          <a:srcRect l="11384" t="18385" r="5398" b="29659"/>
          <a:stretch>
            <a:fillRect/>
          </a:stretch>
        </p:blipFill>
        <p:spPr bwMode="auto">
          <a:xfrm>
            <a:off x="181155" y="1664898"/>
            <a:ext cx="4563374" cy="238951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14" name="Прямоугольник 13"/>
          <p:cNvSpPr/>
          <p:nvPr/>
        </p:nvSpPr>
        <p:spPr>
          <a:xfrm>
            <a:off x="278097" y="1260259"/>
            <a:ext cx="43953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 smtClean="0">
                <a:solidFill>
                  <a:schemeClr val="bg2"/>
                </a:solidFill>
                <a:sym typeface="HeliosCompressed"/>
              </a:rPr>
              <a:t>Федеральный проект </a:t>
            </a:r>
            <a:r>
              <a:rPr lang="ru-RU" dirty="0" smtClean="0">
                <a:solidFill>
                  <a:schemeClr val="bg2"/>
                </a:solidFill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«Учитель будущего» </a:t>
            </a:r>
            <a:endParaRPr lang="ru-RU" dirty="0">
              <a:solidFill>
                <a:schemeClr val="bg2"/>
              </a:solidFill>
            </a:endParaRPr>
          </a:p>
        </p:txBody>
      </p:sp>
      <p:pic>
        <p:nvPicPr>
          <p:cNvPr id="10" name="Рисунок 9"/>
          <p:cNvPicPr/>
          <p:nvPr/>
        </p:nvPicPr>
        <p:blipFill>
          <a:blip r:embed="rId6" cstate="print"/>
          <a:srcRect b="15024"/>
          <a:stretch>
            <a:fillRect/>
          </a:stretch>
        </p:blipFill>
        <p:spPr bwMode="auto">
          <a:xfrm>
            <a:off x="5580114" y="3585757"/>
            <a:ext cx="3384376" cy="209036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4572" y="355538"/>
            <a:ext cx="5132048" cy="550235"/>
          </a:xfrm>
        </p:spPr>
        <p:txBody>
          <a:bodyPr>
            <a:normAutofit/>
          </a:bodyPr>
          <a:lstStyle/>
          <a:p>
            <a:r>
              <a:rPr lang="ru-RU" sz="3200" dirty="0" smtClean="0"/>
              <a:t>Проекты, конкурсы, акции</a:t>
            </a:r>
            <a:endParaRPr lang="ru-RU" sz="3200" dirty="0"/>
          </a:p>
        </p:txBody>
      </p:sp>
      <p:pic>
        <p:nvPicPr>
          <p:cNvPr id="9" name="Рисунок 8"/>
          <p:cNvPicPr/>
          <p:nvPr/>
        </p:nvPicPr>
        <p:blipFill>
          <a:blip r:embed="rId2" cstate="print"/>
          <a:srcRect l="14110" t="8818" r="16141" b="13828"/>
          <a:stretch>
            <a:fillRect/>
          </a:stretch>
        </p:blipFill>
        <p:spPr bwMode="auto">
          <a:xfrm>
            <a:off x="3352978" y="1035169"/>
            <a:ext cx="2737269" cy="2518649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7" name="Рисунок 6"/>
          <p:cNvPicPr/>
          <p:nvPr/>
        </p:nvPicPr>
        <p:blipFill>
          <a:blip r:embed="rId3" cstate="print"/>
          <a:srcRect l="4009" t="10220" r="909" b="2405"/>
          <a:stretch>
            <a:fillRect/>
          </a:stretch>
        </p:blipFill>
        <p:spPr bwMode="auto">
          <a:xfrm>
            <a:off x="172529" y="2777706"/>
            <a:ext cx="4942936" cy="383988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6" name="Рисунок 5"/>
          <p:cNvPicPr/>
          <p:nvPr/>
        </p:nvPicPr>
        <p:blipFill>
          <a:blip r:embed="rId4" cstate="print"/>
          <a:srcRect l="8177" t="8617" r="9727" b="2405"/>
          <a:stretch>
            <a:fillRect/>
          </a:stretch>
        </p:blipFill>
        <p:spPr bwMode="auto">
          <a:xfrm>
            <a:off x="5762447" y="1889187"/>
            <a:ext cx="2708694" cy="254479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5" cstate="print"/>
          <a:srcRect l="1364" t="6534" r="1817" b="16904"/>
          <a:stretch>
            <a:fillRect/>
          </a:stretch>
        </p:blipFill>
        <p:spPr bwMode="auto">
          <a:xfrm>
            <a:off x="6157975" y="4142715"/>
            <a:ext cx="2860222" cy="180951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4294967295"/>
          </p:nvPr>
        </p:nvSpPr>
        <p:spPr>
          <a:xfrm>
            <a:off x="152211" y="1188720"/>
            <a:ext cx="8424862" cy="4688396"/>
          </a:xfrm>
        </p:spPr>
        <p:txBody>
          <a:bodyPr>
            <a:normAutofit fontScale="85000" lnSpcReduction="20000"/>
          </a:bodyPr>
          <a:lstStyle/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r>
              <a:rPr lang="ru-RU" sz="2200" dirty="0" smtClean="0"/>
              <a:t>Федеральный закон от 29.12.2012 г. № 273-ФЗ «Об образовании в Российской Федерации» (с </a:t>
            </a:r>
            <a:r>
              <a:rPr lang="ru-RU" sz="2200" dirty="0" err="1" smtClean="0"/>
              <a:t>изм</a:t>
            </a:r>
            <a:r>
              <a:rPr lang="ru-RU" sz="2200" dirty="0" smtClean="0"/>
              <a:t>., внесенными Федеральными законами от 04.06.2014 г. № 145-ФЗ, от 06.04.2015 г. № 68-ФЗ, ред. 17.03.2018)</a:t>
            </a:r>
          </a:p>
          <a:p>
            <a:r>
              <a:rPr lang="ru-RU" sz="2200" dirty="0" smtClean="0"/>
              <a:t>Приказ МИНПРОСВЕЩЕНИЯ России от </a:t>
            </a:r>
            <a:r>
              <a:rPr lang="ru-RU" sz="2200" b="1" dirty="0" smtClean="0"/>
              <a:t>28.12.2018 № 345 "</a:t>
            </a:r>
            <a:r>
              <a:rPr lang="ru-RU" sz="2200" dirty="0" smtClean="0"/>
              <a:t>О федеральном перечне учебников, рекомендуемых к использованию при реализации имеющих государственную аккредитацию образовательных программ начального общего, основного общего, среднего общего образования"</a:t>
            </a:r>
          </a:p>
          <a:p>
            <a:pPr>
              <a:buNone/>
            </a:pPr>
            <a:r>
              <a:rPr lang="ru-RU" sz="1300" dirty="0" smtClean="0"/>
              <a:t>        </a:t>
            </a:r>
            <a:r>
              <a:rPr lang="ru-RU" sz="1300" u="sng" dirty="0" smtClean="0">
                <a:hlinkClick r:id="rId3"/>
              </a:rPr>
              <a:t>// </a:t>
            </a:r>
            <a:r>
              <a:rPr lang="ru-RU" sz="1300" u="sng" dirty="0" smtClean="0">
                <a:hlinkClick r:id="rId4"/>
              </a:rPr>
              <a:t>http://www.consultant.ru</a:t>
            </a:r>
            <a:r>
              <a:rPr lang="ru-RU" sz="1300" u="sng" dirty="0" smtClean="0">
                <a:hlinkClick r:id="rId3"/>
              </a:rPr>
              <a:t>/; http://www.garant.ru/; </a:t>
            </a:r>
            <a:r>
              <a:rPr lang="ru-RU" sz="1300" u="sng" dirty="0" smtClean="0">
                <a:hlinkClick r:id="rId5"/>
              </a:rPr>
              <a:t>http://www.fpu.edu.ru/fpu</a:t>
            </a:r>
            <a:endParaRPr lang="ru-RU" sz="1300" u="sng" dirty="0" smtClean="0">
              <a:hlinkClick r:id="rId3"/>
            </a:endParaRPr>
          </a:p>
          <a:p>
            <a:pPr>
              <a:buNone/>
            </a:pPr>
            <a:r>
              <a:rPr lang="ru-RU" sz="1300" u="sng" dirty="0" smtClean="0"/>
              <a:t> </a:t>
            </a:r>
            <a:endParaRPr lang="ru-RU" sz="1300" dirty="0" smtClean="0"/>
          </a:p>
          <a:p>
            <a:r>
              <a:rPr lang="ru-RU" sz="1500" dirty="0" smtClean="0"/>
              <a:t>Примерная основная образовательная программа основного общего образования</a:t>
            </a:r>
            <a:r>
              <a:rPr lang="ru-RU" sz="1500" b="1" dirty="0" smtClean="0"/>
              <a:t> </a:t>
            </a:r>
            <a:r>
              <a:rPr lang="ru-RU" sz="1500" dirty="0" smtClean="0"/>
              <a:t>(одобрена решением федерального учебно-методического объединения по общему образованию, протокол от </a:t>
            </a:r>
            <a:r>
              <a:rPr lang="ru-RU" sz="2200" b="1" dirty="0" smtClean="0"/>
              <a:t>8 апреля 2015 г. </a:t>
            </a:r>
            <a:r>
              <a:rPr lang="ru-RU" sz="1500" dirty="0" smtClean="0"/>
              <a:t>№ 1/15)</a:t>
            </a:r>
            <a:endParaRPr lang="ru-RU" sz="1500" b="1" dirty="0" smtClean="0"/>
          </a:p>
          <a:p>
            <a:pPr>
              <a:buNone/>
            </a:pPr>
            <a:r>
              <a:rPr lang="ru-RU" sz="1500" dirty="0" smtClean="0"/>
              <a:t> Письмо Министерства образования и науки РФ от 28 октября 2015 г. № 08-1786 “О рабочих программах учебных предметов”</a:t>
            </a:r>
          </a:p>
          <a:p>
            <a:r>
              <a:rPr lang="ru-RU" sz="1500" dirty="0" smtClean="0"/>
              <a:t>Протокол заседания Научно-методического совета по учебникам Министерства образования и науки  Российской Федерации от </a:t>
            </a:r>
            <a:r>
              <a:rPr lang="ru-RU" sz="2200" b="1" dirty="0" smtClean="0"/>
              <a:t>8 февраля 2019 г.</a:t>
            </a:r>
          </a:p>
          <a:p>
            <a:r>
              <a:rPr lang="ru-RU" u="sng" dirty="0" smtClean="0"/>
              <a:t> </a:t>
            </a:r>
            <a:r>
              <a:rPr lang="ru-RU" sz="1300" u="sng" dirty="0" smtClean="0">
                <a:hlinkClick r:id="rId6"/>
              </a:rPr>
              <a:t>http://минобрнауки.рф/документы</a:t>
            </a:r>
            <a:endParaRPr lang="ru-RU" sz="1300" u="sng" dirty="0" smtClean="0"/>
          </a:p>
          <a:p>
            <a:endParaRPr lang="ru-RU" sz="1300" u="sng" dirty="0" smtClean="0">
              <a:hlinkClick r:id="rId7"/>
            </a:endParaRPr>
          </a:p>
          <a:p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4" y="0"/>
            <a:ext cx="914399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Преподавание учебного предмета «Биология» осуществляется в соответствии с требованиями ФГОС общего образования соответствующего уровня обучения, а также обеспечивается нормативными документами и методическими рекомендациями 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2210" y="381418"/>
            <a:ext cx="5339082" cy="403586"/>
          </a:xfrm>
        </p:spPr>
        <p:txBody>
          <a:bodyPr>
            <a:normAutofit/>
          </a:bodyPr>
          <a:lstStyle/>
          <a:p>
            <a:r>
              <a:rPr lang="ru-RU" sz="3200" dirty="0" smtClean="0"/>
              <a:t>Проекты, конкурсы, акции</a:t>
            </a:r>
            <a:endParaRPr lang="ru-RU" sz="3200" dirty="0"/>
          </a:p>
        </p:txBody>
      </p:sp>
      <p:pic>
        <p:nvPicPr>
          <p:cNvPr id="8" name="Рисунок 7"/>
          <p:cNvPicPr/>
          <p:nvPr/>
        </p:nvPicPr>
        <p:blipFill>
          <a:blip r:embed="rId2" cstate="print"/>
          <a:srcRect l="4971" t="9218" r="5238" b="2806"/>
          <a:stretch>
            <a:fillRect/>
          </a:stretch>
        </p:blipFill>
        <p:spPr bwMode="auto">
          <a:xfrm>
            <a:off x="189782" y="2786332"/>
            <a:ext cx="5037826" cy="387209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6" name="Рисунок 5"/>
          <p:cNvPicPr/>
          <p:nvPr/>
        </p:nvPicPr>
        <p:blipFill>
          <a:blip r:embed="rId3" cstate="print"/>
          <a:srcRect t="9218" r="1390" b="4810"/>
          <a:stretch>
            <a:fillRect/>
          </a:stretch>
        </p:blipFill>
        <p:spPr bwMode="auto">
          <a:xfrm>
            <a:off x="4019909" y="1880559"/>
            <a:ext cx="4882551" cy="3510951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9" name="Рисунок 8"/>
          <p:cNvPicPr/>
          <p:nvPr/>
        </p:nvPicPr>
        <p:blipFill>
          <a:blip r:embed="rId4" cstate="print"/>
          <a:srcRect l="9460" t="9018" r="11170" b="2405"/>
          <a:stretch>
            <a:fillRect/>
          </a:stretch>
        </p:blipFill>
        <p:spPr bwMode="auto">
          <a:xfrm>
            <a:off x="1466490" y="923025"/>
            <a:ext cx="2234242" cy="175979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145995260"/>
              </p:ext>
            </p:extLst>
          </p:nvPr>
        </p:nvGraphicFramePr>
        <p:xfrm>
          <a:off x="1193" y="858441"/>
          <a:ext cx="1191" cy="1191"/>
        </p:xfrm>
        <a:graphic>
          <a:graphicData uri="http://schemas.openxmlformats.org/presentationml/2006/ole">
            <p:oleObj spid="_x0000_s552962" name="think-cell Slide" r:id="rId4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11" y="857250"/>
            <a:ext cx="119063" cy="11906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8022" y="1681229"/>
            <a:ext cx="4166559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Материалы и лекции от известных авторов учебно-методических комплектов</a:t>
            </a:r>
          </a:p>
          <a:p>
            <a:endParaRPr lang="ru-RU" sz="12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r>
              <a:rPr lang="ru-RU" sz="12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Обучение на курсах повышения квалификации позволит педагогам всегда быть в курсе  актуальных тенденций в образовании в условиях быстро меняющейся реальности </a:t>
            </a:r>
          </a:p>
          <a:p>
            <a:endParaRPr lang="ru-RU" sz="12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r>
              <a:rPr lang="ru-RU" sz="12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Эффективное обучение с помощью современных образовательных </a:t>
            </a:r>
            <a:r>
              <a:rPr lang="ru-RU" sz="12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инструментов и </a:t>
            </a:r>
            <a:r>
              <a:rPr lang="ru-RU" sz="12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информационных технологий</a:t>
            </a:r>
          </a:p>
          <a:p>
            <a:endParaRPr lang="ru-RU" sz="1200" dirty="0" smtClean="0">
              <a:solidFill>
                <a:srgbClr val="004B8A"/>
              </a:solidFill>
            </a:endParaRPr>
          </a:p>
          <a:p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</a:rPr>
              <a:t>В настоящее время реализуется 56 образовательных программ. Учебные материалы открыты для свободного доступа. С ними ознакомились более 50000 учителей.</a:t>
            </a:r>
          </a:p>
          <a:p>
            <a:endParaRPr lang="ru-RU" sz="12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</a:rPr>
              <a:t>Полный курс обучения с помощью современных образовательных и информационных технологий прошли свыше 7000 педагогов.</a:t>
            </a:r>
          </a:p>
          <a:p>
            <a:endParaRPr lang="ru-RU" sz="1200" dirty="0" smtClean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r>
              <a:rPr lang="ru-RU" sz="12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Сетевое </a:t>
            </a:r>
            <a:r>
              <a:rPr lang="ru-RU" sz="12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взаимодействие с ИРО и ИПК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06223" y="1017939"/>
            <a:ext cx="394308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Курсы повышения </a:t>
            </a:r>
            <a:r>
              <a:rPr lang="ru-RU" sz="2000" b="1" dirty="0" smtClean="0"/>
              <a:t>квалификации</a:t>
            </a:r>
          </a:p>
          <a:p>
            <a:r>
              <a:rPr lang="ru-RU" sz="2000" b="1" dirty="0" smtClean="0"/>
              <a:t>              для </a:t>
            </a:r>
            <a:r>
              <a:rPr lang="ru-RU" sz="2000" b="1" dirty="0"/>
              <a:t>педагогов</a:t>
            </a:r>
          </a:p>
        </p:txBody>
      </p:sp>
      <p:grpSp>
        <p:nvGrpSpPr>
          <p:cNvPr id="4" name="Группа 8"/>
          <p:cNvGrpSpPr/>
          <p:nvPr/>
        </p:nvGrpSpPr>
        <p:grpSpPr>
          <a:xfrm>
            <a:off x="180920" y="5802895"/>
            <a:ext cx="5466542" cy="563769"/>
            <a:chOff x="617880" y="5160192"/>
            <a:chExt cx="7288722" cy="751692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17880" y="5160192"/>
              <a:ext cx="667950" cy="715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1" name="Picture 3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147993" y="5162971"/>
              <a:ext cx="546504" cy="7489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2" name="Picture 4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021804" y="5254650"/>
              <a:ext cx="620721" cy="6207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3" name="Прямоугольник 12"/>
            <p:cNvSpPr/>
            <p:nvPr/>
          </p:nvSpPr>
          <p:spPr>
            <a:xfrm>
              <a:off x="1358856" y="5291163"/>
              <a:ext cx="2162141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00" dirty="0"/>
                <a:t>в любое время,</a:t>
              </a:r>
            </a:p>
            <a:p>
              <a:r>
                <a:rPr lang="ru-RU" sz="900" dirty="0"/>
                <a:t>в любом месте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3796162" y="5291163"/>
              <a:ext cx="2162141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00" dirty="0"/>
                <a:t>удостоверение</a:t>
              </a:r>
            </a:p>
            <a:p>
              <a:r>
                <a:rPr lang="ru-RU" sz="900" dirty="0"/>
                <a:t>установленного образца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6761174" y="5458055"/>
              <a:ext cx="1145428" cy="3077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900" dirty="0"/>
                <a:t>лицензия</a:t>
              </a: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ru-RU" sz="1800" dirty="0"/>
              <a:t>УНИВЕРСИТЕТ КОРПОРАЦИИ</a:t>
            </a:r>
            <a:br>
              <a:rPr lang="ru-RU" sz="1800" dirty="0"/>
            </a:br>
            <a:r>
              <a:rPr lang="ru-RU" sz="1800" dirty="0"/>
              <a:t>«</a:t>
            </a:r>
            <a:r>
              <a:rPr lang="ru-RU" sz="1800" dirty="0">
                <a:solidFill>
                  <a:srgbClr val="EB2049"/>
                </a:solidFill>
              </a:rPr>
              <a:t>РОССИЙСКИЙ УЧЕБНИК</a:t>
            </a:r>
            <a:r>
              <a:rPr lang="ru-RU" sz="1800" dirty="0"/>
              <a:t>»</a:t>
            </a:r>
          </a:p>
        </p:txBody>
      </p:sp>
      <p:pic>
        <p:nvPicPr>
          <p:cNvPr id="23" name="Picture 8" descr="C:\Users\ivanova.ey\Desktop\тоже слайд1 - копия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155912" y="2894547"/>
            <a:ext cx="1642485" cy="22467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22" name="Рисунок 21" descr="E:\USERS\Dolgenkovano\Documents\My Pictures\Фото\Фото\DSC09577.JPG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254150" y="3019245"/>
            <a:ext cx="2027207" cy="291572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24" name="Рисунок 23" descr="E:\USERS\Dolgenkovano\Documents\My Pictures\Фото\фото конференциикалининград\2015-09-11 14.55.57.jpg"/>
          <p:cNvPicPr/>
          <p:nvPr/>
        </p:nvPicPr>
        <p:blipFill>
          <a:blip r:embed="rId10" cstate="print"/>
          <a:srcRect l="9766" t="24099" r="8988" b="7755"/>
          <a:stretch>
            <a:fillRect/>
          </a:stretch>
        </p:blipFill>
        <p:spPr bwMode="auto">
          <a:xfrm>
            <a:off x="5030367" y="316482"/>
            <a:ext cx="3724275" cy="234315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592678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65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654208656"/>
              </p:ext>
            </p:extLst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p:oleObj spid="_x0000_s397314" name="think-cell Slide" r:id="rId4" imgW="360" imgH="360" progId="">
              <p:embed/>
            </p:oleObj>
          </a:graphicData>
        </a:graphic>
      </p:graphicFrame>
      <p:sp>
        <p:nvSpPr>
          <p:cNvPr id="10" name="Прямоугольник 9" hidden="1"/>
          <p:cNvSpPr/>
          <p:nvPr>
            <p:custDataLst>
              <p:tags r:id="rId2"/>
            </p:custDataLst>
          </p:nvPr>
        </p:nvSpPr>
        <p:spPr>
          <a:xfrm>
            <a:off x="11" y="857250"/>
            <a:ext cx="119063" cy="11906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12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23" name="Picture 5" descr="D:\Masha\черная пятница\!!!Мероприятия\18-09-26 Презентация для ЦУИТ\лекта и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4243" r="23887" b="5103"/>
          <a:stretch/>
        </p:blipFill>
        <p:spPr bwMode="auto">
          <a:xfrm>
            <a:off x="4800103" y="0"/>
            <a:ext cx="433634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Полилиния 23"/>
          <p:cNvSpPr/>
          <p:nvPr/>
        </p:nvSpPr>
        <p:spPr>
          <a:xfrm>
            <a:off x="4647810" y="1842"/>
            <a:ext cx="2466977" cy="6858000"/>
          </a:xfrm>
          <a:custGeom>
            <a:avLst/>
            <a:gdLst>
              <a:gd name="connsiteX0" fmla="*/ 0 w 1714512"/>
              <a:gd name="connsiteY0" fmla="*/ 6854428 h 6854428"/>
              <a:gd name="connsiteX1" fmla="*/ 0 w 1714512"/>
              <a:gd name="connsiteY1" fmla="*/ 0 h 6854428"/>
              <a:gd name="connsiteX2" fmla="*/ 1714512 w 1714512"/>
              <a:gd name="connsiteY2" fmla="*/ 6854428 h 6854428"/>
              <a:gd name="connsiteX3" fmla="*/ 0 w 1714512"/>
              <a:gd name="connsiteY3" fmla="*/ 6854428 h 6854428"/>
              <a:gd name="connsiteX0" fmla="*/ 619172 w 2333684"/>
              <a:gd name="connsiteY0" fmla="*/ 6858000 h 6858000"/>
              <a:gd name="connsiteX1" fmla="*/ 0 w 2333684"/>
              <a:gd name="connsiteY1" fmla="*/ 0 h 6858000"/>
              <a:gd name="connsiteX2" fmla="*/ 2333684 w 2333684"/>
              <a:gd name="connsiteY2" fmla="*/ 6858000 h 6858000"/>
              <a:gd name="connsiteX3" fmla="*/ 619172 w 2333684"/>
              <a:gd name="connsiteY3" fmla="*/ 6858000 h 6858000"/>
              <a:gd name="connsiteX0" fmla="*/ 809716 w 2524228"/>
              <a:gd name="connsiteY0" fmla="*/ 6858000 h 6858000"/>
              <a:gd name="connsiteX1" fmla="*/ 0 w 2524228"/>
              <a:gd name="connsiteY1" fmla="*/ 0 h 6858000"/>
              <a:gd name="connsiteX2" fmla="*/ 2524228 w 2524228"/>
              <a:gd name="connsiteY2" fmla="*/ 6858000 h 6858000"/>
              <a:gd name="connsiteX3" fmla="*/ 809716 w 2524228"/>
              <a:gd name="connsiteY3" fmla="*/ 6858000 h 6858000"/>
              <a:gd name="connsiteX0" fmla="*/ 0 w 2690874"/>
              <a:gd name="connsiteY0" fmla="*/ 6858000 h 6858000"/>
              <a:gd name="connsiteX1" fmla="*/ 166646 w 2690874"/>
              <a:gd name="connsiteY1" fmla="*/ 0 h 6858000"/>
              <a:gd name="connsiteX2" fmla="*/ 2690874 w 2690874"/>
              <a:gd name="connsiteY2" fmla="*/ 6858000 h 6858000"/>
              <a:gd name="connsiteX3" fmla="*/ 0 w 2690874"/>
              <a:gd name="connsiteY3" fmla="*/ 6858000 h 6858000"/>
              <a:gd name="connsiteX0" fmla="*/ 0 w 2071702"/>
              <a:gd name="connsiteY0" fmla="*/ 6858000 h 6858000"/>
              <a:gd name="connsiteX1" fmla="*/ 166646 w 2071702"/>
              <a:gd name="connsiteY1" fmla="*/ 0 h 6858000"/>
              <a:gd name="connsiteX2" fmla="*/ 2071702 w 2071702"/>
              <a:gd name="connsiteY2" fmla="*/ 6858000 h 6858000"/>
              <a:gd name="connsiteX3" fmla="*/ 0 w 2071702"/>
              <a:gd name="connsiteY3" fmla="*/ 6858000 h 6858000"/>
              <a:gd name="connsiteX0" fmla="*/ 0 w 3024166"/>
              <a:gd name="connsiteY0" fmla="*/ 6858000 h 6858000"/>
              <a:gd name="connsiteX1" fmla="*/ 166646 w 3024166"/>
              <a:gd name="connsiteY1" fmla="*/ 0 h 6858000"/>
              <a:gd name="connsiteX2" fmla="*/ 3024166 w 3024166"/>
              <a:gd name="connsiteY2" fmla="*/ 6858000 h 6858000"/>
              <a:gd name="connsiteX3" fmla="*/ 0 w 302416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4166" h="6858000">
                <a:moveTo>
                  <a:pt x="0" y="6858000"/>
                </a:moveTo>
                <a:lnTo>
                  <a:pt x="166646" y="0"/>
                </a:lnTo>
                <a:lnTo>
                  <a:pt x="302416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anchor="ctr"/>
          <a:lstStyle/>
          <a:p>
            <a:pPr algn="ctr">
              <a:defRPr/>
            </a:pPr>
            <a:endParaRPr lang="ru-RU" sz="900" dirty="0" err="1">
              <a:solidFill>
                <a:schemeClr val="bg1"/>
              </a:solidFill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350603" y="4553203"/>
            <a:ext cx="5731542" cy="0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miter lim="800000"/>
            <a:headEnd type="none" w="med" len="med"/>
            <a:tailEnd type="none"/>
          </a:ln>
        </p:spPr>
      </p:cxn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92906" y="4927725"/>
            <a:ext cx="5747685" cy="59111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76373" y="5624296"/>
            <a:ext cx="83700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/>
              <a:t>Классная работа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648772" y="5624296"/>
            <a:ext cx="83700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/>
              <a:t>Контрольная работа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086431" y="5624296"/>
            <a:ext cx="96405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/>
              <a:t>Курсы повышения квалификации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547792" y="5624296"/>
            <a:ext cx="83700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/>
              <a:t>ВПР-тренажер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715320" y="5624296"/>
            <a:ext cx="83700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/>
              <a:t>Атлас+</a:t>
            </a:r>
          </a:p>
        </p:txBody>
      </p:sp>
      <p:pic>
        <p:nvPicPr>
          <p:cNvPr id="26" name="Picture 11" descr="D:\Masha\черная пятница\!Фирменные стили и логотипы\Логотипы\все логотипы россыпью-03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6749" y="399018"/>
            <a:ext cx="1606526" cy="5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Прямоугольник 26"/>
          <p:cNvSpPr/>
          <p:nvPr/>
        </p:nvSpPr>
        <p:spPr>
          <a:xfrm>
            <a:off x="466738" y="2532893"/>
            <a:ext cx="1674019" cy="13501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anchor="ctr"/>
          <a:lstStyle/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83173" y="1567270"/>
            <a:ext cx="445541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smtClean="0">
                <a:solidFill>
                  <a:srgbClr val="2D3494"/>
                </a:solidFill>
                <a:latin typeface="Calibri" pitchFamily="34" charset="0"/>
              </a:rPr>
              <a:t>КНИГОВЫДАЧА</a:t>
            </a:r>
            <a:r>
              <a:rPr lang="ru-RU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</a:t>
            </a:r>
            <a:r>
              <a:rPr lang="ru-RU" sz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itchFamily="34" charset="0"/>
              </a:rPr>
              <a:t>– возможность обеспечить школу учебниками, сэкономить время и средства.</a:t>
            </a:r>
            <a:endParaRPr lang="ru-RU" sz="1200" dirty="0">
              <a:solidFill>
                <a:schemeClr val="tx1">
                  <a:lumMod val="90000"/>
                  <a:lumOff val="10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29358" y="2412439"/>
            <a:ext cx="128079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2400" dirty="0">
                <a:solidFill>
                  <a:srgbClr val="2D3494"/>
                </a:solidFill>
              </a:rPr>
              <a:t>1</a:t>
            </a:r>
          </a:p>
          <a:p>
            <a:pPr algn="ctr"/>
            <a:r>
              <a:rPr lang="ru-RU" sz="12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учебник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550466" y="2412439"/>
            <a:ext cx="128079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2400" dirty="0">
                <a:solidFill>
                  <a:srgbClr val="2D3494"/>
                </a:solidFill>
              </a:rPr>
              <a:t>500</a:t>
            </a:r>
          </a:p>
          <a:p>
            <a:pPr algn="ctr"/>
            <a:r>
              <a:rPr lang="ru-RU" sz="12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дней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2879008" y="2435522"/>
            <a:ext cx="128079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2400" dirty="0">
                <a:solidFill>
                  <a:srgbClr val="2D3494"/>
                </a:solidFill>
              </a:rPr>
              <a:t>ЛЮБЫЕ</a:t>
            </a:r>
            <a:r>
              <a:rPr lang="ru-RU" sz="2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12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устройства пользователя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207550" y="2412439"/>
            <a:ext cx="128079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2400" dirty="0">
                <a:solidFill>
                  <a:srgbClr val="2D3494"/>
                </a:solidFill>
              </a:rPr>
              <a:t>75</a:t>
            </a:r>
          </a:p>
          <a:p>
            <a:pPr algn="ctr"/>
            <a:r>
              <a:rPr lang="ru-RU" sz="12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рублей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00502" y="3686540"/>
            <a:ext cx="55718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dirty="0">
                <a:latin typeface="Calibri" pitchFamily="34" charset="0"/>
              </a:rPr>
              <a:t>В библиотеке платформы </a:t>
            </a:r>
            <a:r>
              <a:rPr lang="en-US" sz="1200" dirty="0">
                <a:latin typeface="Calibri" pitchFamily="34" charset="0"/>
              </a:rPr>
              <a:t>LECTA </a:t>
            </a:r>
            <a:r>
              <a:rPr lang="ru-RU" sz="1200" b="1" dirty="0">
                <a:latin typeface="Calibri" pitchFamily="34" charset="0"/>
              </a:rPr>
              <a:t>более 500 учебников и учебных пособий </a:t>
            </a:r>
          </a:p>
          <a:p>
            <a:pPr>
              <a:defRPr/>
            </a:pPr>
            <a:r>
              <a:rPr lang="ru-RU" sz="1200" b="1" dirty="0">
                <a:latin typeface="Calibri" pitchFamily="34" charset="0"/>
              </a:rPr>
              <a:t>в электронной форме </a:t>
            </a:r>
            <a:r>
              <a:rPr lang="ru-RU" sz="1200" dirty="0">
                <a:latin typeface="Calibri" pitchFamily="34" charset="0"/>
              </a:rPr>
              <a:t>(ЭФУ) и </a:t>
            </a:r>
            <a:r>
              <a:rPr lang="ru-RU" sz="1200" dirty="0" err="1">
                <a:latin typeface="Calibri" pitchFamily="34" charset="0"/>
              </a:rPr>
              <a:t>аудиприложений</a:t>
            </a:r>
            <a:r>
              <a:rPr lang="ru-RU" sz="1200" dirty="0">
                <a:latin typeface="Calibri" pitchFamily="34" charset="0"/>
              </a:rPr>
              <a:t> по всей школьной программе.</a:t>
            </a:r>
            <a:endParaRPr lang="ru-RU" sz="1200" dirty="0">
              <a:latin typeface="Calibri Light" pitchFamily="34" charset="0"/>
            </a:endParaRPr>
          </a:p>
        </p:txBody>
      </p:sp>
      <p:sp>
        <p:nvSpPr>
          <p:cNvPr id="34" name="Заголовок 1"/>
          <p:cNvSpPr>
            <a:spLocks noGrp="1"/>
          </p:cNvSpPr>
          <p:nvPr>
            <p:ph type="title"/>
          </p:nvPr>
        </p:nvSpPr>
        <p:spPr>
          <a:xfrm>
            <a:off x="1965576" y="354333"/>
            <a:ext cx="3186354" cy="589364"/>
          </a:xfrm>
        </p:spPr>
        <p:txBody>
          <a:bodyPr anchor="ctr">
            <a:normAutofit/>
          </a:bodyPr>
          <a:lstStyle/>
          <a:p>
            <a:pPr>
              <a:spcBef>
                <a:spcPts val="0"/>
              </a:spcBef>
              <a:defRPr/>
            </a:pPr>
            <a:r>
              <a:rPr lang="ru-RU" sz="1200" dirty="0">
                <a:solidFill>
                  <a:srgbClr val="2F3696"/>
                </a:solidFill>
              </a:rPr>
              <a:t>НАДЕЖНАЯ ОСНОВА ЦИФРОВОЙ ШКОЛЫ:</a:t>
            </a:r>
            <a:r>
              <a:rPr lang="en-US" sz="1200" dirty="0">
                <a:solidFill>
                  <a:srgbClr val="2F3696"/>
                </a:solidFill>
              </a:rPr>
              <a:t> </a:t>
            </a:r>
            <a:br>
              <a:rPr lang="en-US" sz="1200" dirty="0">
                <a:solidFill>
                  <a:srgbClr val="2F3696"/>
                </a:solidFill>
              </a:rPr>
            </a:br>
            <a:r>
              <a:rPr lang="ru-RU" sz="1200" dirty="0">
                <a:solidFill>
                  <a:srgbClr val="2F3696"/>
                </a:solidFill>
              </a:rPr>
              <a:t>ПРОСТЫЕ РЕШЕНИЯ СЛОЖНЫХ ЗАДАЧ</a:t>
            </a:r>
            <a:endParaRPr lang="ru-RU" sz="1050" dirty="0">
              <a:solidFill>
                <a:srgbClr val="2F3696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65715" y="6428112"/>
            <a:ext cx="2561920" cy="205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lnSpc>
                <a:spcPct val="70000"/>
              </a:lnSpc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Адрес сайта:</a:t>
            </a:r>
            <a:r>
              <a:rPr lang="ru-RU" sz="1050" dirty="0">
                <a:solidFill>
                  <a:srgbClr val="2D3494"/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 </a:t>
            </a:r>
            <a:r>
              <a:rPr lang="en-US" sz="105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  <a:hlinkClick r:id="rId8"/>
              </a:rPr>
              <a:t>https://lecta.rosuchebnik.ru/</a:t>
            </a:r>
            <a:r>
              <a:rPr lang="ru-RU" sz="105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 </a:t>
            </a:r>
            <a:endParaRPr lang="en-US" sz="105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ea typeface="HeliosCompressed"/>
              <a:cs typeface="HeliosCompressed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35467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338" name="Object 2"/>
          <p:cNvGraphicFramePr>
            <a:graphicFrameLocks noChangeAspect="1"/>
          </p:cNvGraphicFramePr>
          <p:nvPr/>
        </p:nvGraphicFramePr>
        <p:xfrm>
          <a:off x="1192" y="1608"/>
          <a:ext cx="1190" cy="1587"/>
        </p:xfrm>
        <a:graphic>
          <a:graphicData uri="http://schemas.openxmlformats.org/presentationml/2006/ole">
            <p:oleObj spid="_x0000_s425986" name="think-cell Slide" r:id="rId4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2"/>
            </p:custDataLst>
          </p:nvPr>
        </p:nvSpPr>
        <p:spPr>
          <a:xfrm>
            <a:off x="1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22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БЛАГОДАРЯ:"/>
          <p:cNvSpPr txBox="1"/>
          <p:nvPr/>
        </p:nvSpPr>
        <p:spPr>
          <a:xfrm>
            <a:off x="2639030" y="157486"/>
            <a:ext cx="5028597" cy="740716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15000" b="0">
                <a:solidFill>
                  <a:srgbClr val="F69323"/>
                </a:solidFill>
                <a:latin typeface="HeliosExtraCompressed"/>
                <a:ea typeface="HeliosExtraCompressed"/>
                <a:cs typeface="HeliosExtraCompressed"/>
                <a:sym typeface="HeliosExtraCompressed"/>
              </a:defRPr>
            </a:lvl1pPr>
          </a:lstStyle>
          <a:p>
            <a:pPr>
              <a:defRPr/>
            </a:pPr>
            <a:r>
              <a:rPr lang="ru-RU" sz="2800" b="1" dirty="0">
                <a:solidFill>
                  <a:srgbClr val="2D3494"/>
                </a:solidFill>
                <a:latin typeface="+mn-lt"/>
                <a:ea typeface="HeliosCompressed"/>
                <a:cs typeface="HeliosCompressed"/>
              </a:rPr>
              <a:t>ПОПРОБУЙТЕ И УБЕДИТЕСЬ САМИ!</a:t>
            </a:r>
            <a:endParaRPr sz="2800" b="1" dirty="0">
              <a:solidFill>
                <a:srgbClr val="2D3494"/>
              </a:solidFill>
              <a:latin typeface="+mn-lt"/>
              <a:ea typeface="HeliosCompressed"/>
              <a:cs typeface="HeliosCompressed"/>
            </a:endParaRPr>
          </a:p>
        </p:txBody>
      </p:sp>
      <p:sp>
        <p:nvSpPr>
          <p:cNvPr id="13" name="Сервисы «Классная работа» и «Контроль»"/>
          <p:cNvSpPr txBox="1"/>
          <p:nvPr/>
        </p:nvSpPr>
        <p:spPr>
          <a:xfrm>
            <a:off x="3131840" y="5373227"/>
            <a:ext cx="2257425" cy="494494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>
              <a:defRPr/>
            </a:pPr>
            <a:r>
              <a:rPr lang="ru-RU" sz="18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Сервис </a:t>
            </a:r>
            <a:r>
              <a:rPr lang="ru-RU" sz="18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«Классная работа</a:t>
            </a:r>
            <a:r>
              <a:rPr lang="ru-RU" sz="18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»</a:t>
            </a:r>
            <a:endParaRPr sz="180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14" name="2018"/>
          <p:cNvSpPr txBox="1"/>
          <p:nvPr/>
        </p:nvSpPr>
        <p:spPr>
          <a:xfrm>
            <a:off x="5508106" y="5445246"/>
            <a:ext cx="762272" cy="297517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>
              <a:defRPr/>
            </a:pPr>
            <a:r>
              <a:rPr lang="ru-RU" sz="20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rPr>
              <a:t>2019</a:t>
            </a:r>
            <a:endParaRPr lang="ru-RU" sz="200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635898" y="3284984"/>
            <a:ext cx="1481584" cy="707886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5 учебников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76063" y="3429000"/>
            <a:ext cx="1281113" cy="400050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1 месяц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020283" y="3429000"/>
            <a:ext cx="1558057" cy="4001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бесплатно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092291" y="5445224"/>
            <a:ext cx="1486049" cy="4001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бесплатно</a:t>
            </a:r>
          </a:p>
        </p:txBody>
      </p:sp>
      <p:pic>
        <p:nvPicPr>
          <p:cNvPr id="142347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9575" y="147638"/>
            <a:ext cx="1638300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Прямоугольник 36"/>
          <p:cNvSpPr/>
          <p:nvPr/>
        </p:nvSpPr>
        <p:spPr>
          <a:xfrm>
            <a:off x="288142" y="6345261"/>
            <a:ext cx="3354829" cy="2431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70000"/>
              </a:lnSpc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4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  <a:sym typeface="Helios-Cond-Light"/>
              </a:rPr>
              <a:t>Адрес сайта:</a:t>
            </a:r>
            <a:r>
              <a:rPr lang="ru-RU" sz="1400" dirty="0">
                <a:solidFill>
                  <a:srgbClr val="2D3494"/>
                </a:solidFill>
                <a:latin typeface="Calibri" panose="020F0502020204030204" pitchFamily="34" charset="0"/>
                <a:ea typeface="HeliosCompressed"/>
                <a:cs typeface="HeliosCompressed"/>
                <a:sym typeface="Helios-Cond-Light"/>
              </a:rPr>
              <a:t> </a:t>
            </a: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  <a:sym typeface="Helios-Cond-Light"/>
                <a:hlinkClick r:id="rId6"/>
              </a:rPr>
              <a:t>https://lecta.rosuchebnik.ru/</a:t>
            </a: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HeliosCompressed"/>
                <a:cs typeface="HeliosCompressed"/>
                <a:sym typeface="Helios-Cond-Light"/>
              </a:rPr>
              <a:t> </a:t>
            </a:r>
            <a:endParaRPr lang="en-US" sz="14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ea typeface="HeliosCompressed"/>
              <a:cs typeface="HeliosCompressed"/>
              <a:sym typeface="Helios-Cond-Light"/>
            </a:endParaRPr>
          </a:p>
        </p:txBody>
      </p:sp>
      <p:pic>
        <p:nvPicPr>
          <p:cNvPr id="142351" name="Рисунок 83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23928" y="2492918"/>
            <a:ext cx="668238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2352" name="Рисунок 84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508111" y="2492918"/>
            <a:ext cx="539105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2353" name="Рисунок 85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452331" y="2492918"/>
            <a:ext cx="637901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2354" name="Рисунок 86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851922" y="4365104"/>
            <a:ext cx="576064" cy="617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2355" name="Рисунок 87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436096" y="4365104"/>
            <a:ext cx="561726" cy="555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2356" name="Рисунок 88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308304" y="4365126"/>
            <a:ext cx="572418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1" name="Овал 90"/>
          <p:cNvSpPr/>
          <p:nvPr/>
        </p:nvSpPr>
        <p:spPr>
          <a:xfrm>
            <a:off x="3779914" y="2276872"/>
            <a:ext cx="961082" cy="977900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92" name="Овал 91"/>
          <p:cNvSpPr/>
          <p:nvPr/>
        </p:nvSpPr>
        <p:spPr>
          <a:xfrm>
            <a:off x="5292081" y="2276872"/>
            <a:ext cx="1008112" cy="977900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93" name="Овал 92"/>
          <p:cNvSpPr/>
          <p:nvPr/>
        </p:nvSpPr>
        <p:spPr>
          <a:xfrm>
            <a:off x="7308304" y="2348902"/>
            <a:ext cx="911696" cy="979487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94" name="Овал 93"/>
          <p:cNvSpPr/>
          <p:nvPr/>
        </p:nvSpPr>
        <p:spPr>
          <a:xfrm>
            <a:off x="7164288" y="4149080"/>
            <a:ext cx="889372" cy="977900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95" name="Овал 94"/>
          <p:cNvSpPr/>
          <p:nvPr/>
        </p:nvSpPr>
        <p:spPr>
          <a:xfrm>
            <a:off x="5220074" y="4221088"/>
            <a:ext cx="991443" cy="977900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96" name="Овал 95"/>
          <p:cNvSpPr/>
          <p:nvPr/>
        </p:nvSpPr>
        <p:spPr>
          <a:xfrm>
            <a:off x="3635898" y="4149080"/>
            <a:ext cx="1008112" cy="977900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142363" name="Прямоугольник 1"/>
          <p:cNvSpPr>
            <a:spLocks noChangeArrowheads="1"/>
          </p:cNvSpPr>
          <p:nvPr/>
        </p:nvSpPr>
        <p:spPr bwMode="auto">
          <a:xfrm>
            <a:off x="409575" y="1169988"/>
            <a:ext cx="836652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/>
              <a:t>Активируйте </a:t>
            </a:r>
            <a:r>
              <a:rPr lang="ru-RU" dirty="0" err="1"/>
              <a:t>промо-код</a:t>
            </a:r>
            <a:r>
              <a:rPr lang="ru-RU" dirty="0"/>
              <a:t> </a:t>
            </a:r>
            <a:r>
              <a:rPr lang="en-US" sz="2000" b="1" dirty="0" smtClean="0">
                <a:solidFill>
                  <a:srgbClr val="FF0000"/>
                </a:solidFill>
              </a:rPr>
              <a:t> UMK2019</a:t>
            </a:r>
            <a:r>
              <a:rPr lang="ru-RU" sz="1600" b="1" dirty="0" smtClean="0">
                <a:solidFill>
                  <a:srgbClr val="2D3494"/>
                </a:solidFill>
              </a:rPr>
              <a:t> </a:t>
            </a:r>
            <a:r>
              <a:rPr lang="ru-RU" dirty="0"/>
              <a:t>на сайте</a:t>
            </a:r>
            <a:r>
              <a:rPr lang="ru-RU" dirty="0">
                <a:solidFill>
                  <a:srgbClr val="2D3494"/>
                </a:solidFill>
                <a:latin typeface="Calibri" pitchFamily="34" charset="0"/>
                <a:ea typeface="HeliosCompressed"/>
                <a:cs typeface="HeliosCompressed"/>
              </a:rPr>
              <a:t> </a:t>
            </a:r>
            <a:r>
              <a:rPr lang="en-US" sz="2000" b="1" dirty="0">
                <a:solidFill>
                  <a:srgbClr val="FF0000"/>
                </a:solidFill>
                <a:latin typeface="Calibri" pitchFamily="34" charset="0"/>
                <a:ea typeface="HeliosCompressed"/>
                <a:cs typeface="HeliosCompressed"/>
              </a:rPr>
              <a:t>lecta.rosuchebnik.ru</a:t>
            </a:r>
            <a:r>
              <a:rPr lang="ru-RU" sz="2000" b="1" dirty="0">
                <a:solidFill>
                  <a:srgbClr val="FF0000"/>
                </a:solidFill>
                <a:latin typeface="Calibri" pitchFamily="34" charset="0"/>
                <a:ea typeface="HeliosCompressed"/>
                <a:cs typeface="HeliosCompressed"/>
              </a:rPr>
              <a:t> </a:t>
            </a:r>
            <a:r>
              <a:rPr lang="ru-RU" sz="1600" dirty="0"/>
              <a:t>и получите </a:t>
            </a:r>
            <a:r>
              <a:rPr lang="ru-RU" sz="1600" b="1" dirty="0">
                <a:solidFill>
                  <a:srgbClr val="2D3494"/>
                </a:solidFill>
              </a:rPr>
              <a:t>БЕСПЛАТНЫЙ</a:t>
            </a:r>
            <a:r>
              <a:rPr lang="ru-RU" sz="1600" dirty="0"/>
              <a:t> доступ к электронным учебникам и уникальным сервисам на сайте </a:t>
            </a:r>
            <a:r>
              <a:rPr lang="en-US" sz="1600" dirty="0"/>
              <a:t>L</a:t>
            </a:r>
            <a:r>
              <a:rPr lang="ru-RU" sz="1600" dirty="0"/>
              <a:t>ЕСТА:</a:t>
            </a:r>
          </a:p>
        </p:txBody>
      </p:sp>
      <p:pic>
        <p:nvPicPr>
          <p:cNvPr id="26" name="Рисунок 25"/>
          <p:cNvPicPr/>
          <p:nvPr/>
        </p:nvPicPr>
        <p:blipFill>
          <a:blip r:embed="rId13" cstate="print"/>
          <a:srcRect l="5612" t="8016" r="7643" b="6212"/>
          <a:stretch>
            <a:fillRect/>
          </a:stretch>
        </p:blipFill>
        <p:spPr bwMode="auto">
          <a:xfrm>
            <a:off x="107515" y="1844824"/>
            <a:ext cx="2710957" cy="230425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27" name="Рисунок 26"/>
          <p:cNvPicPr/>
          <p:nvPr/>
        </p:nvPicPr>
        <p:blipFill>
          <a:blip r:embed="rId14" cstate="print"/>
          <a:srcRect l="6093" t="7816" r="6040" b="5210"/>
          <a:stretch>
            <a:fillRect/>
          </a:stretch>
        </p:blipFill>
        <p:spPr bwMode="auto">
          <a:xfrm>
            <a:off x="646067" y="4051212"/>
            <a:ext cx="2736304" cy="216827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62" name="Object 3"/>
          <p:cNvGraphicFramePr>
            <a:graphicFrameLocks noChangeAspect="1"/>
          </p:cNvGraphicFramePr>
          <p:nvPr/>
        </p:nvGraphicFramePr>
        <p:xfrm>
          <a:off x="1192" y="1589"/>
          <a:ext cx="1190" cy="1587"/>
        </p:xfrm>
        <a:graphic>
          <a:graphicData uri="http://schemas.openxmlformats.org/presentationml/2006/ole">
            <p:oleObj spid="_x0000_s553986" name="think-cell Slide" r:id="rId3" imgW="360" imgH="360" progId="">
              <p:embed/>
            </p:oleObj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0" y="3298826"/>
            <a:ext cx="9144000" cy="1611313"/>
          </a:xfrm>
          <a:prstGeom prst="rect">
            <a:avLst/>
          </a:prstGeom>
          <a:solidFill>
            <a:srgbClr val="005CA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40964" name="Заголовок 5"/>
          <p:cNvSpPr txBox="1">
            <a:spLocks/>
          </p:cNvSpPr>
          <p:nvPr/>
        </p:nvSpPr>
        <p:spPr bwMode="auto">
          <a:xfrm>
            <a:off x="128130" y="214314"/>
            <a:ext cx="8639175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2400" b="1" dirty="0">
                <a:solidFill>
                  <a:srgbClr val="1D1F81"/>
                </a:solidFill>
                <a:latin typeface="Calibri" pitchFamily="34" charset="0"/>
              </a:rPr>
              <a:t>ПРОГРАММА  ЛОЯЛЬНОСТИ ДЛЯ УЧИТЕЛЕЙ</a:t>
            </a:r>
          </a:p>
        </p:txBody>
      </p:sp>
      <p:sp>
        <p:nvSpPr>
          <p:cNvPr id="40965" name="Текст 1"/>
          <p:cNvSpPr txBox="1">
            <a:spLocks/>
          </p:cNvSpPr>
          <p:nvPr/>
        </p:nvSpPr>
        <p:spPr bwMode="auto">
          <a:xfrm>
            <a:off x="317898" y="3416300"/>
            <a:ext cx="4130278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None/>
            </a:pPr>
            <a:r>
              <a:rPr lang="ru-RU" sz="2000" b="1" dirty="0">
                <a:solidFill>
                  <a:schemeClr val="bg1"/>
                </a:solidFill>
                <a:latin typeface="Calibri" pitchFamily="34" charset="0"/>
              </a:rPr>
              <a:t>ПРИСОЕДИНЯЙТЕСЬ!</a:t>
            </a:r>
            <a:endParaRPr lang="en-US" sz="20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40966" name="Рисунок 6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81500" y="1738313"/>
            <a:ext cx="4989910" cy="395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Полилиния 7"/>
          <p:cNvSpPr/>
          <p:nvPr/>
        </p:nvSpPr>
        <p:spPr>
          <a:xfrm flipV="1">
            <a:off x="6936582" y="177801"/>
            <a:ext cx="2207419" cy="608013"/>
          </a:xfrm>
          <a:custGeom>
            <a:avLst/>
            <a:gdLst>
              <a:gd name="connsiteX0" fmla="*/ 0 w 2286016"/>
              <a:gd name="connsiteY0" fmla="*/ 0 h 785818"/>
              <a:gd name="connsiteX1" fmla="*/ 2286016 w 2286016"/>
              <a:gd name="connsiteY1" fmla="*/ 0 h 785818"/>
              <a:gd name="connsiteX2" fmla="*/ 2286016 w 2286016"/>
              <a:gd name="connsiteY2" fmla="*/ 785818 h 785818"/>
              <a:gd name="connsiteX3" fmla="*/ 0 w 2286016"/>
              <a:gd name="connsiteY3" fmla="*/ 785818 h 785818"/>
              <a:gd name="connsiteX4" fmla="*/ 0 w 2286016"/>
              <a:gd name="connsiteY4" fmla="*/ 0 h 785818"/>
              <a:gd name="connsiteX0" fmla="*/ 309522 w 2286016"/>
              <a:gd name="connsiteY0" fmla="*/ 0 h 785818"/>
              <a:gd name="connsiteX1" fmla="*/ 2286016 w 2286016"/>
              <a:gd name="connsiteY1" fmla="*/ 0 h 785818"/>
              <a:gd name="connsiteX2" fmla="*/ 2286016 w 2286016"/>
              <a:gd name="connsiteY2" fmla="*/ 785818 h 785818"/>
              <a:gd name="connsiteX3" fmla="*/ 0 w 2286016"/>
              <a:gd name="connsiteY3" fmla="*/ 785818 h 785818"/>
              <a:gd name="connsiteX4" fmla="*/ 309522 w 2286016"/>
              <a:gd name="connsiteY4" fmla="*/ 0 h 785818"/>
              <a:gd name="connsiteX0" fmla="*/ 195194 w 2286016"/>
              <a:gd name="connsiteY0" fmla="*/ 0 h 785842"/>
              <a:gd name="connsiteX1" fmla="*/ 2286016 w 2286016"/>
              <a:gd name="connsiteY1" fmla="*/ 24 h 785842"/>
              <a:gd name="connsiteX2" fmla="*/ 2286016 w 2286016"/>
              <a:gd name="connsiteY2" fmla="*/ 785842 h 785842"/>
              <a:gd name="connsiteX3" fmla="*/ 0 w 2286016"/>
              <a:gd name="connsiteY3" fmla="*/ 785842 h 785842"/>
              <a:gd name="connsiteX4" fmla="*/ 195194 w 2286016"/>
              <a:gd name="connsiteY4" fmla="*/ 0 h 785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86016" h="785842">
                <a:moveTo>
                  <a:pt x="195194" y="0"/>
                </a:moveTo>
                <a:lnTo>
                  <a:pt x="2286016" y="24"/>
                </a:lnTo>
                <a:lnTo>
                  <a:pt x="2286016" y="785842"/>
                </a:lnTo>
                <a:lnTo>
                  <a:pt x="0" y="785842"/>
                </a:lnTo>
                <a:lnTo>
                  <a:pt x="195194" y="0"/>
                </a:lnTo>
                <a:close/>
              </a:path>
            </a:pathLst>
          </a:custGeom>
          <a:solidFill>
            <a:srgbClr val="EB20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" name="Полилиния 8"/>
          <p:cNvSpPr/>
          <p:nvPr/>
        </p:nvSpPr>
        <p:spPr>
          <a:xfrm flipV="1">
            <a:off x="6522244" y="0"/>
            <a:ext cx="2621756" cy="717550"/>
          </a:xfrm>
          <a:custGeom>
            <a:avLst/>
            <a:gdLst>
              <a:gd name="connsiteX0" fmla="*/ 0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0 w 4024298"/>
              <a:gd name="connsiteY4" fmla="*/ 0 h 1071570"/>
              <a:gd name="connsiteX0" fmla="*/ 452398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452398 w 4024298"/>
              <a:gd name="connsiteY4" fmla="*/ 0 h 1071570"/>
              <a:gd name="connsiteX0" fmla="*/ 833358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833358 w 4024298"/>
              <a:gd name="connsiteY4" fmla="*/ 0 h 1071570"/>
              <a:gd name="connsiteX0" fmla="*/ 380960 w 3571900"/>
              <a:gd name="connsiteY0" fmla="*/ 0 h 1071570"/>
              <a:gd name="connsiteX1" fmla="*/ 3571900 w 3571900"/>
              <a:gd name="connsiteY1" fmla="*/ 0 h 1071570"/>
              <a:gd name="connsiteX2" fmla="*/ 3571900 w 3571900"/>
              <a:gd name="connsiteY2" fmla="*/ 1071570 h 1071570"/>
              <a:gd name="connsiteX3" fmla="*/ 0 w 3571900"/>
              <a:gd name="connsiteY3" fmla="*/ 1071570 h 1071570"/>
              <a:gd name="connsiteX4" fmla="*/ 380960 w 3571900"/>
              <a:gd name="connsiteY4" fmla="*/ 0 h 1071570"/>
              <a:gd name="connsiteX0" fmla="*/ 380960 w 3571900"/>
              <a:gd name="connsiteY0" fmla="*/ 0 h 1071570"/>
              <a:gd name="connsiteX1" fmla="*/ 3024166 w 3571900"/>
              <a:gd name="connsiteY1" fmla="*/ 0 h 1071570"/>
              <a:gd name="connsiteX2" fmla="*/ 3571900 w 3571900"/>
              <a:gd name="connsiteY2" fmla="*/ 1071570 h 1071570"/>
              <a:gd name="connsiteX3" fmla="*/ 0 w 3571900"/>
              <a:gd name="connsiteY3" fmla="*/ 1071570 h 1071570"/>
              <a:gd name="connsiteX4" fmla="*/ 380960 w 3571900"/>
              <a:gd name="connsiteY4" fmla="*/ 0 h 1071570"/>
              <a:gd name="connsiteX0" fmla="*/ 380960 w 3024166"/>
              <a:gd name="connsiteY0" fmla="*/ 0 h 1071570"/>
              <a:gd name="connsiteX1" fmla="*/ 3024166 w 3024166"/>
              <a:gd name="connsiteY1" fmla="*/ 0 h 1071570"/>
              <a:gd name="connsiteX2" fmla="*/ 3024166 w 3024166"/>
              <a:gd name="connsiteY2" fmla="*/ 1071570 h 1071570"/>
              <a:gd name="connsiteX3" fmla="*/ 0 w 3024166"/>
              <a:gd name="connsiteY3" fmla="*/ 1071570 h 1071570"/>
              <a:gd name="connsiteX4" fmla="*/ 380960 w 3024166"/>
              <a:gd name="connsiteY4" fmla="*/ 0 h 1071570"/>
              <a:gd name="connsiteX0" fmla="*/ 380960 w 3024166"/>
              <a:gd name="connsiteY0" fmla="*/ 0 h 1071570"/>
              <a:gd name="connsiteX1" fmla="*/ 2905060 w 3024166"/>
              <a:gd name="connsiteY1" fmla="*/ 0 h 1071570"/>
              <a:gd name="connsiteX2" fmla="*/ 3024166 w 3024166"/>
              <a:gd name="connsiteY2" fmla="*/ 1071570 h 1071570"/>
              <a:gd name="connsiteX3" fmla="*/ 0 w 3024166"/>
              <a:gd name="connsiteY3" fmla="*/ 1071570 h 1071570"/>
              <a:gd name="connsiteX4" fmla="*/ 380960 w 3024166"/>
              <a:gd name="connsiteY4" fmla="*/ 0 h 1071570"/>
              <a:gd name="connsiteX0" fmla="*/ 380960 w 2905060"/>
              <a:gd name="connsiteY0" fmla="*/ 0 h 1071570"/>
              <a:gd name="connsiteX1" fmla="*/ 2905060 w 2905060"/>
              <a:gd name="connsiteY1" fmla="*/ 0 h 1071570"/>
              <a:gd name="connsiteX2" fmla="*/ 2905060 w 2905060"/>
              <a:gd name="connsiteY2" fmla="*/ 1071570 h 1071570"/>
              <a:gd name="connsiteX3" fmla="*/ 0 w 2905060"/>
              <a:gd name="connsiteY3" fmla="*/ 1071570 h 1071570"/>
              <a:gd name="connsiteX4" fmla="*/ 380960 w 2905060"/>
              <a:gd name="connsiteY4" fmla="*/ 0 h 1071570"/>
              <a:gd name="connsiteX0" fmla="*/ 258613 w 2905060"/>
              <a:gd name="connsiteY0" fmla="*/ 28 h 1071570"/>
              <a:gd name="connsiteX1" fmla="*/ 2905060 w 2905060"/>
              <a:gd name="connsiteY1" fmla="*/ 0 h 1071570"/>
              <a:gd name="connsiteX2" fmla="*/ 2905060 w 2905060"/>
              <a:gd name="connsiteY2" fmla="*/ 1071570 h 1071570"/>
              <a:gd name="connsiteX3" fmla="*/ 0 w 2905060"/>
              <a:gd name="connsiteY3" fmla="*/ 1071570 h 1071570"/>
              <a:gd name="connsiteX4" fmla="*/ 258613 w 2905060"/>
              <a:gd name="connsiteY4" fmla="*/ 28 h 107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5060" h="1071570">
                <a:moveTo>
                  <a:pt x="258613" y="28"/>
                </a:moveTo>
                <a:lnTo>
                  <a:pt x="2905060" y="0"/>
                </a:lnTo>
                <a:lnTo>
                  <a:pt x="2905060" y="1071570"/>
                </a:lnTo>
                <a:lnTo>
                  <a:pt x="0" y="1071570"/>
                </a:lnTo>
                <a:lnTo>
                  <a:pt x="258613" y="28"/>
                </a:lnTo>
                <a:close/>
              </a:path>
            </a:pathLst>
          </a:cu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0969" name="Прямоугольник 9"/>
          <p:cNvSpPr>
            <a:spLocks noChangeArrowheads="1"/>
          </p:cNvSpPr>
          <p:nvPr/>
        </p:nvSpPr>
        <p:spPr bwMode="auto">
          <a:xfrm>
            <a:off x="6610114" y="144463"/>
            <a:ext cx="2612703" cy="400110"/>
          </a:xfrm>
          <a:prstGeom prst="rect">
            <a:avLst/>
          </a:prstGeom>
          <a:noFill/>
          <a:ln w="19050">
            <a:noFill/>
            <a:prstDash val="lg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rosuchebnik.ru/loyalty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40970" name="Текст 1"/>
          <p:cNvSpPr txBox="1">
            <a:spLocks/>
          </p:cNvSpPr>
          <p:nvPr/>
        </p:nvSpPr>
        <p:spPr bwMode="auto">
          <a:xfrm>
            <a:off x="207262" y="1156801"/>
            <a:ext cx="3898106" cy="146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72000" rIns="36000" bIns="72000"/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None/>
            </a:pPr>
            <a:r>
              <a:rPr lang="ru-RU" sz="2000" dirty="0">
                <a:solidFill>
                  <a:srgbClr val="2F2F2F"/>
                </a:solidFill>
                <a:latin typeface="Calibri" pitchFamily="34" charset="0"/>
              </a:rPr>
              <a:t>Система накопления баллов, которая позволяет получать бонусы и подарки, участвуя в мероприятиях и активностях от корпорации «Российский учебник» и </a:t>
            </a:r>
            <a:r>
              <a:rPr lang="en-US" sz="2000" dirty="0">
                <a:solidFill>
                  <a:srgbClr val="2F2F2F"/>
                </a:solidFill>
                <a:latin typeface="Calibri" pitchFamily="34" charset="0"/>
              </a:rPr>
              <a:t>LECTA</a:t>
            </a:r>
          </a:p>
        </p:txBody>
      </p:sp>
      <p:sp>
        <p:nvSpPr>
          <p:cNvPr id="40971" name="Текст 1"/>
          <p:cNvSpPr txBox="1">
            <a:spLocks/>
          </p:cNvSpPr>
          <p:nvPr/>
        </p:nvSpPr>
        <p:spPr bwMode="auto">
          <a:xfrm>
            <a:off x="168427" y="3821602"/>
            <a:ext cx="4676133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72000" rIns="36000" bIns="72000"/>
          <a:lstStyle/>
          <a:p>
            <a:pPr>
              <a:buClr>
                <a:schemeClr val="bg2"/>
              </a:buClr>
              <a:buFont typeface="Arial" pitchFamily="34" charset="0"/>
              <a:buNone/>
            </a:pPr>
            <a:r>
              <a:rPr lang="ru-RU" sz="2000" b="1" dirty="0">
                <a:solidFill>
                  <a:schemeClr val="bg1"/>
                </a:solidFill>
                <a:latin typeface="Calibri" pitchFamily="34" charset="0"/>
              </a:rPr>
              <a:t>Накапливайте баллы </a:t>
            </a:r>
          </a:p>
          <a:p>
            <a:pPr>
              <a:buClr>
                <a:schemeClr val="bg2"/>
              </a:buClr>
              <a:buFont typeface="Arial" pitchFamily="34" charset="0"/>
              <a:buNone/>
            </a:pPr>
            <a:r>
              <a:rPr lang="ru-RU" sz="2000" b="1" dirty="0">
                <a:solidFill>
                  <a:schemeClr val="bg1"/>
                </a:solidFill>
                <a:latin typeface="Calibri" pitchFamily="34" charset="0"/>
              </a:rPr>
              <a:t>и обменивайте их на скидки и подарки</a:t>
            </a:r>
            <a:endParaRPr lang="en-US" sz="2000" b="1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/>
          <p:nvPr/>
        </p:nvPicPr>
        <p:blipFill>
          <a:blip r:embed="rId2" cstate="print"/>
          <a:srcRect l="9593" t="8407" r="12475" b="16150"/>
          <a:stretch>
            <a:fillRect/>
          </a:stretch>
        </p:blipFill>
        <p:spPr bwMode="auto">
          <a:xfrm>
            <a:off x="4987280" y="999836"/>
            <a:ext cx="3609405" cy="2944141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5" name="Рисунок 4"/>
          <p:cNvPicPr/>
          <p:nvPr/>
        </p:nvPicPr>
        <p:blipFill>
          <a:blip r:embed="rId3" cstate="print"/>
          <a:srcRect t="5753" r="10654" b="3741"/>
          <a:stretch>
            <a:fillRect/>
          </a:stretch>
        </p:blipFill>
        <p:spPr bwMode="auto">
          <a:xfrm>
            <a:off x="5409710" y="3610325"/>
            <a:ext cx="3456384" cy="2780928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03649" y="260648"/>
            <a:ext cx="6177880" cy="882352"/>
          </a:xfrm>
        </p:spPr>
        <p:txBody>
          <a:bodyPr>
            <a:normAutofit/>
          </a:bodyPr>
          <a:lstStyle/>
          <a:p>
            <a:r>
              <a:rPr lang="ru-RU" sz="4400" dirty="0" smtClean="0"/>
              <a:t>Мы в социальных сетях</a:t>
            </a:r>
            <a:endParaRPr lang="ru-RU" sz="4400" dirty="0"/>
          </a:p>
        </p:txBody>
      </p:sp>
      <p:pic>
        <p:nvPicPr>
          <p:cNvPr id="6" name="Рисунок 5"/>
          <p:cNvPicPr/>
          <p:nvPr/>
        </p:nvPicPr>
        <p:blipFill>
          <a:blip r:embed="rId4" cstate="print"/>
          <a:srcRect l="22350" t="6195" r="11807" b="2655"/>
          <a:stretch>
            <a:fillRect/>
          </a:stretch>
        </p:blipFill>
        <p:spPr bwMode="auto">
          <a:xfrm>
            <a:off x="341169" y="3914255"/>
            <a:ext cx="2304256" cy="2448272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9" name="Рисунок 8"/>
          <p:cNvPicPr/>
          <p:nvPr/>
        </p:nvPicPr>
        <p:blipFill>
          <a:blip r:embed="rId5" cstate="print"/>
          <a:srcRect l="21817" t="6637" r="23668" b="2434"/>
          <a:stretch>
            <a:fillRect/>
          </a:stretch>
        </p:blipFill>
        <p:spPr bwMode="auto">
          <a:xfrm>
            <a:off x="2971912" y="3729975"/>
            <a:ext cx="2050039" cy="2447907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1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0268" y="1086928"/>
            <a:ext cx="4374658" cy="248440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62" name="Object 3"/>
          <p:cNvGraphicFramePr>
            <a:graphicFrameLocks noChangeAspect="1"/>
          </p:cNvGraphicFramePr>
          <p:nvPr/>
        </p:nvGraphicFramePr>
        <p:xfrm>
          <a:off x="1192" y="1591"/>
          <a:ext cx="1190" cy="1587"/>
        </p:xfrm>
        <a:graphic>
          <a:graphicData uri="http://schemas.openxmlformats.org/presentationml/2006/ole">
            <p:oleObj spid="_x0000_s605186" name="think-cell Slide" r:id="rId3" imgW="360" imgH="360" progId="">
              <p:embed/>
            </p:oleObj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0" y="3298828"/>
            <a:ext cx="9144000" cy="1611313"/>
          </a:xfrm>
          <a:prstGeom prst="rect">
            <a:avLst/>
          </a:prstGeom>
          <a:solidFill>
            <a:srgbClr val="005CA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40964" name="Заголовок 5"/>
          <p:cNvSpPr txBox="1">
            <a:spLocks/>
          </p:cNvSpPr>
          <p:nvPr/>
        </p:nvSpPr>
        <p:spPr bwMode="auto">
          <a:xfrm>
            <a:off x="128131" y="214316"/>
            <a:ext cx="8639175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2400" b="1" dirty="0">
                <a:solidFill>
                  <a:srgbClr val="1D1F81"/>
                </a:solidFill>
                <a:latin typeface="Calibri" pitchFamily="34" charset="0"/>
              </a:rPr>
              <a:t>ПРОГРАММА  ЛОЯЛЬНОСТИ ДЛЯ УЧИТЕЛЕЙ</a:t>
            </a:r>
          </a:p>
        </p:txBody>
      </p:sp>
      <p:sp>
        <p:nvSpPr>
          <p:cNvPr id="40965" name="Текст 1"/>
          <p:cNvSpPr txBox="1">
            <a:spLocks/>
          </p:cNvSpPr>
          <p:nvPr/>
        </p:nvSpPr>
        <p:spPr bwMode="auto">
          <a:xfrm>
            <a:off x="317898" y="3416300"/>
            <a:ext cx="4130278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None/>
            </a:pPr>
            <a:r>
              <a:rPr lang="ru-RU" sz="2000" b="1" dirty="0">
                <a:solidFill>
                  <a:schemeClr val="bg1"/>
                </a:solidFill>
                <a:latin typeface="Calibri" pitchFamily="34" charset="0"/>
              </a:rPr>
              <a:t>ПРИСОЕДИНЯЙТЕСЬ!</a:t>
            </a:r>
            <a:endParaRPr lang="en-US" sz="20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40966" name="Рисунок 6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81500" y="1738313"/>
            <a:ext cx="4989910" cy="395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Полилиния 7"/>
          <p:cNvSpPr/>
          <p:nvPr/>
        </p:nvSpPr>
        <p:spPr>
          <a:xfrm flipV="1">
            <a:off x="6936583" y="177803"/>
            <a:ext cx="2207419" cy="608013"/>
          </a:xfrm>
          <a:custGeom>
            <a:avLst/>
            <a:gdLst>
              <a:gd name="connsiteX0" fmla="*/ 0 w 2286016"/>
              <a:gd name="connsiteY0" fmla="*/ 0 h 785818"/>
              <a:gd name="connsiteX1" fmla="*/ 2286016 w 2286016"/>
              <a:gd name="connsiteY1" fmla="*/ 0 h 785818"/>
              <a:gd name="connsiteX2" fmla="*/ 2286016 w 2286016"/>
              <a:gd name="connsiteY2" fmla="*/ 785818 h 785818"/>
              <a:gd name="connsiteX3" fmla="*/ 0 w 2286016"/>
              <a:gd name="connsiteY3" fmla="*/ 785818 h 785818"/>
              <a:gd name="connsiteX4" fmla="*/ 0 w 2286016"/>
              <a:gd name="connsiteY4" fmla="*/ 0 h 785818"/>
              <a:gd name="connsiteX0" fmla="*/ 309522 w 2286016"/>
              <a:gd name="connsiteY0" fmla="*/ 0 h 785818"/>
              <a:gd name="connsiteX1" fmla="*/ 2286016 w 2286016"/>
              <a:gd name="connsiteY1" fmla="*/ 0 h 785818"/>
              <a:gd name="connsiteX2" fmla="*/ 2286016 w 2286016"/>
              <a:gd name="connsiteY2" fmla="*/ 785818 h 785818"/>
              <a:gd name="connsiteX3" fmla="*/ 0 w 2286016"/>
              <a:gd name="connsiteY3" fmla="*/ 785818 h 785818"/>
              <a:gd name="connsiteX4" fmla="*/ 309522 w 2286016"/>
              <a:gd name="connsiteY4" fmla="*/ 0 h 785818"/>
              <a:gd name="connsiteX0" fmla="*/ 195194 w 2286016"/>
              <a:gd name="connsiteY0" fmla="*/ 0 h 785842"/>
              <a:gd name="connsiteX1" fmla="*/ 2286016 w 2286016"/>
              <a:gd name="connsiteY1" fmla="*/ 24 h 785842"/>
              <a:gd name="connsiteX2" fmla="*/ 2286016 w 2286016"/>
              <a:gd name="connsiteY2" fmla="*/ 785842 h 785842"/>
              <a:gd name="connsiteX3" fmla="*/ 0 w 2286016"/>
              <a:gd name="connsiteY3" fmla="*/ 785842 h 785842"/>
              <a:gd name="connsiteX4" fmla="*/ 195194 w 2286016"/>
              <a:gd name="connsiteY4" fmla="*/ 0 h 785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86016" h="785842">
                <a:moveTo>
                  <a:pt x="195194" y="0"/>
                </a:moveTo>
                <a:lnTo>
                  <a:pt x="2286016" y="24"/>
                </a:lnTo>
                <a:lnTo>
                  <a:pt x="2286016" y="785842"/>
                </a:lnTo>
                <a:lnTo>
                  <a:pt x="0" y="785842"/>
                </a:lnTo>
                <a:lnTo>
                  <a:pt x="195194" y="0"/>
                </a:lnTo>
                <a:close/>
              </a:path>
            </a:pathLst>
          </a:custGeom>
          <a:solidFill>
            <a:srgbClr val="EB20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" name="Полилиния 8"/>
          <p:cNvSpPr/>
          <p:nvPr/>
        </p:nvSpPr>
        <p:spPr>
          <a:xfrm flipV="1">
            <a:off x="6522244" y="0"/>
            <a:ext cx="2621756" cy="717550"/>
          </a:xfrm>
          <a:custGeom>
            <a:avLst/>
            <a:gdLst>
              <a:gd name="connsiteX0" fmla="*/ 0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0 w 4024298"/>
              <a:gd name="connsiteY4" fmla="*/ 0 h 1071570"/>
              <a:gd name="connsiteX0" fmla="*/ 452398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452398 w 4024298"/>
              <a:gd name="connsiteY4" fmla="*/ 0 h 1071570"/>
              <a:gd name="connsiteX0" fmla="*/ 833358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833358 w 4024298"/>
              <a:gd name="connsiteY4" fmla="*/ 0 h 1071570"/>
              <a:gd name="connsiteX0" fmla="*/ 380960 w 3571900"/>
              <a:gd name="connsiteY0" fmla="*/ 0 h 1071570"/>
              <a:gd name="connsiteX1" fmla="*/ 3571900 w 3571900"/>
              <a:gd name="connsiteY1" fmla="*/ 0 h 1071570"/>
              <a:gd name="connsiteX2" fmla="*/ 3571900 w 3571900"/>
              <a:gd name="connsiteY2" fmla="*/ 1071570 h 1071570"/>
              <a:gd name="connsiteX3" fmla="*/ 0 w 3571900"/>
              <a:gd name="connsiteY3" fmla="*/ 1071570 h 1071570"/>
              <a:gd name="connsiteX4" fmla="*/ 380960 w 3571900"/>
              <a:gd name="connsiteY4" fmla="*/ 0 h 1071570"/>
              <a:gd name="connsiteX0" fmla="*/ 380960 w 3571900"/>
              <a:gd name="connsiteY0" fmla="*/ 0 h 1071570"/>
              <a:gd name="connsiteX1" fmla="*/ 3024166 w 3571900"/>
              <a:gd name="connsiteY1" fmla="*/ 0 h 1071570"/>
              <a:gd name="connsiteX2" fmla="*/ 3571900 w 3571900"/>
              <a:gd name="connsiteY2" fmla="*/ 1071570 h 1071570"/>
              <a:gd name="connsiteX3" fmla="*/ 0 w 3571900"/>
              <a:gd name="connsiteY3" fmla="*/ 1071570 h 1071570"/>
              <a:gd name="connsiteX4" fmla="*/ 380960 w 3571900"/>
              <a:gd name="connsiteY4" fmla="*/ 0 h 1071570"/>
              <a:gd name="connsiteX0" fmla="*/ 380960 w 3024166"/>
              <a:gd name="connsiteY0" fmla="*/ 0 h 1071570"/>
              <a:gd name="connsiteX1" fmla="*/ 3024166 w 3024166"/>
              <a:gd name="connsiteY1" fmla="*/ 0 h 1071570"/>
              <a:gd name="connsiteX2" fmla="*/ 3024166 w 3024166"/>
              <a:gd name="connsiteY2" fmla="*/ 1071570 h 1071570"/>
              <a:gd name="connsiteX3" fmla="*/ 0 w 3024166"/>
              <a:gd name="connsiteY3" fmla="*/ 1071570 h 1071570"/>
              <a:gd name="connsiteX4" fmla="*/ 380960 w 3024166"/>
              <a:gd name="connsiteY4" fmla="*/ 0 h 1071570"/>
              <a:gd name="connsiteX0" fmla="*/ 380960 w 3024166"/>
              <a:gd name="connsiteY0" fmla="*/ 0 h 1071570"/>
              <a:gd name="connsiteX1" fmla="*/ 2905060 w 3024166"/>
              <a:gd name="connsiteY1" fmla="*/ 0 h 1071570"/>
              <a:gd name="connsiteX2" fmla="*/ 3024166 w 3024166"/>
              <a:gd name="connsiteY2" fmla="*/ 1071570 h 1071570"/>
              <a:gd name="connsiteX3" fmla="*/ 0 w 3024166"/>
              <a:gd name="connsiteY3" fmla="*/ 1071570 h 1071570"/>
              <a:gd name="connsiteX4" fmla="*/ 380960 w 3024166"/>
              <a:gd name="connsiteY4" fmla="*/ 0 h 1071570"/>
              <a:gd name="connsiteX0" fmla="*/ 380960 w 2905060"/>
              <a:gd name="connsiteY0" fmla="*/ 0 h 1071570"/>
              <a:gd name="connsiteX1" fmla="*/ 2905060 w 2905060"/>
              <a:gd name="connsiteY1" fmla="*/ 0 h 1071570"/>
              <a:gd name="connsiteX2" fmla="*/ 2905060 w 2905060"/>
              <a:gd name="connsiteY2" fmla="*/ 1071570 h 1071570"/>
              <a:gd name="connsiteX3" fmla="*/ 0 w 2905060"/>
              <a:gd name="connsiteY3" fmla="*/ 1071570 h 1071570"/>
              <a:gd name="connsiteX4" fmla="*/ 380960 w 2905060"/>
              <a:gd name="connsiteY4" fmla="*/ 0 h 1071570"/>
              <a:gd name="connsiteX0" fmla="*/ 258613 w 2905060"/>
              <a:gd name="connsiteY0" fmla="*/ 28 h 1071570"/>
              <a:gd name="connsiteX1" fmla="*/ 2905060 w 2905060"/>
              <a:gd name="connsiteY1" fmla="*/ 0 h 1071570"/>
              <a:gd name="connsiteX2" fmla="*/ 2905060 w 2905060"/>
              <a:gd name="connsiteY2" fmla="*/ 1071570 h 1071570"/>
              <a:gd name="connsiteX3" fmla="*/ 0 w 2905060"/>
              <a:gd name="connsiteY3" fmla="*/ 1071570 h 1071570"/>
              <a:gd name="connsiteX4" fmla="*/ 258613 w 2905060"/>
              <a:gd name="connsiteY4" fmla="*/ 28 h 107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5060" h="1071570">
                <a:moveTo>
                  <a:pt x="258613" y="28"/>
                </a:moveTo>
                <a:lnTo>
                  <a:pt x="2905060" y="0"/>
                </a:lnTo>
                <a:lnTo>
                  <a:pt x="2905060" y="1071570"/>
                </a:lnTo>
                <a:lnTo>
                  <a:pt x="0" y="1071570"/>
                </a:lnTo>
                <a:lnTo>
                  <a:pt x="258613" y="28"/>
                </a:lnTo>
                <a:close/>
              </a:path>
            </a:pathLst>
          </a:cu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0969" name="Прямоугольник 9"/>
          <p:cNvSpPr>
            <a:spLocks noChangeArrowheads="1"/>
          </p:cNvSpPr>
          <p:nvPr/>
        </p:nvSpPr>
        <p:spPr bwMode="auto">
          <a:xfrm>
            <a:off x="6610115" y="144463"/>
            <a:ext cx="2612703" cy="400110"/>
          </a:xfrm>
          <a:prstGeom prst="rect">
            <a:avLst/>
          </a:prstGeom>
          <a:noFill/>
          <a:ln w="19050">
            <a:noFill/>
            <a:prstDash val="lg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rosuchebnik.ru/loyalty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40970" name="Текст 1"/>
          <p:cNvSpPr txBox="1">
            <a:spLocks/>
          </p:cNvSpPr>
          <p:nvPr/>
        </p:nvSpPr>
        <p:spPr bwMode="auto">
          <a:xfrm>
            <a:off x="207262" y="1156802"/>
            <a:ext cx="3898106" cy="146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72000" rIns="36000" bIns="72000"/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None/>
            </a:pPr>
            <a:r>
              <a:rPr lang="ru-RU" sz="2000" dirty="0">
                <a:solidFill>
                  <a:srgbClr val="2F2F2F"/>
                </a:solidFill>
                <a:latin typeface="Calibri" pitchFamily="34" charset="0"/>
              </a:rPr>
              <a:t>Система накопления баллов, которая позволяет получать бонусы и подарки, участвуя в мероприятиях и активностях от корпорации «Российский учебник» и </a:t>
            </a:r>
            <a:r>
              <a:rPr lang="en-US" sz="2000" dirty="0">
                <a:solidFill>
                  <a:srgbClr val="2F2F2F"/>
                </a:solidFill>
                <a:latin typeface="Calibri" pitchFamily="34" charset="0"/>
              </a:rPr>
              <a:t>LECTA</a:t>
            </a:r>
          </a:p>
        </p:txBody>
      </p:sp>
      <p:sp>
        <p:nvSpPr>
          <p:cNvPr id="40971" name="Текст 1"/>
          <p:cNvSpPr txBox="1">
            <a:spLocks/>
          </p:cNvSpPr>
          <p:nvPr/>
        </p:nvSpPr>
        <p:spPr bwMode="auto">
          <a:xfrm>
            <a:off x="168428" y="3821602"/>
            <a:ext cx="4676133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72000" rIns="36000" bIns="72000"/>
          <a:lstStyle/>
          <a:p>
            <a:pPr>
              <a:buClr>
                <a:schemeClr val="bg2"/>
              </a:buClr>
              <a:buFont typeface="Arial" pitchFamily="34" charset="0"/>
              <a:buNone/>
            </a:pPr>
            <a:r>
              <a:rPr lang="ru-RU" sz="2000" b="1" dirty="0">
                <a:solidFill>
                  <a:schemeClr val="bg1"/>
                </a:solidFill>
                <a:latin typeface="Calibri" pitchFamily="34" charset="0"/>
              </a:rPr>
              <a:t>Накапливайте баллы </a:t>
            </a:r>
          </a:p>
          <a:p>
            <a:pPr>
              <a:buClr>
                <a:schemeClr val="bg2"/>
              </a:buClr>
              <a:buFont typeface="Arial" pitchFamily="34" charset="0"/>
              <a:buNone/>
            </a:pPr>
            <a:r>
              <a:rPr lang="ru-RU" sz="2000" b="1" dirty="0">
                <a:solidFill>
                  <a:schemeClr val="bg1"/>
                </a:solidFill>
                <a:latin typeface="Calibri" pitchFamily="34" charset="0"/>
              </a:rPr>
              <a:t>и обменивайте их на скидки и подарки</a:t>
            </a:r>
            <a:endParaRPr lang="en-US" sz="2000" b="1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0" y="1596621"/>
            <a:ext cx="9144000" cy="1644493"/>
          </a:xfrm>
          <a:prstGeom prst="rect">
            <a:avLst/>
          </a:prstGeom>
          <a:solidFill>
            <a:srgbClr val="2F36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157999801"/>
              </p:ext>
            </p:extLst>
          </p:nvPr>
        </p:nvGraphicFramePr>
        <p:xfrm>
          <a:off x="1144195" y="858843"/>
          <a:ext cx="1190" cy="1587"/>
        </p:xfrm>
        <a:graphic>
          <a:graphicData uri="http://schemas.openxmlformats.org/presentationml/2006/ole">
            <p:oleObj spid="_x0000_s390146" name="think-cell Slide" r:id="rId3" imgW="360" imgH="360" progId="">
              <p:embed/>
            </p:oleObj>
          </a:graphicData>
        </a:graphic>
      </p:graphicFrame>
      <p:sp>
        <p:nvSpPr>
          <p:cNvPr id="1065" name="Хотите продолжить общение?"/>
          <p:cNvSpPr txBox="1"/>
          <p:nvPr/>
        </p:nvSpPr>
        <p:spPr>
          <a:xfrm>
            <a:off x="5064940" y="3447206"/>
            <a:ext cx="2058833" cy="2231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Хотите продолжить общение?</a:t>
            </a:r>
          </a:p>
        </p:txBody>
      </p:sp>
      <p:grpSp>
        <p:nvGrpSpPr>
          <p:cNvPr id="2" name="Группа 30"/>
          <p:cNvGrpSpPr/>
          <p:nvPr/>
        </p:nvGrpSpPr>
        <p:grpSpPr>
          <a:xfrm>
            <a:off x="5064927" y="3958844"/>
            <a:ext cx="2663698" cy="1200329"/>
            <a:chOff x="7310446" y="3528008"/>
            <a:chExt cx="3551597" cy="1600438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7703401" y="3528008"/>
              <a:ext cx="3158642" cy="160043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lang="en-US" sz="12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youtube.com/user/</a:t>
              </a:r>
              <a:r>
                <a:rPr lang="en-US" sz="12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drofapublishing</a:t>
              </a:r>
              <a:endParaRPr lang="ru-RU" sz="12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2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fb.com/</a:t>
              </a:r>
              <a:r>
                <a:rPr lang="en-US" sz="12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rosuchebnik</a:t>
              </a:r>
              <a:endParaRPr lang="ru-RU" sz="12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2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vk.com/</a:t>
              </a:r>
              <a:r>
                <a:rPr lang="en-US" sz="12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ros.uchebnik</a:t>
              </a:r>
              <a:endParaRPr lang="ru-RU" sz="12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2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ok.ru/</a:t>
              </a:r>
              <a:r>
                <a:rPr lang="en-US" sz="12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rosuchebnik</a:t>
              </a:r>
              <a:endParaRPr lang="en-US" sz="12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</p:txBody>
        </p:sp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xmlns="" id="{006EB138-9E31-6A43-81C9-40C57E323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 xmlns="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32978" y="4750319"/>
              <a:ext cx="249702" cy="249702"/>
            </a:xfrm>
            <a:prstGeom prst="rect">
              <a:avLst/>
            </a:prstGeom>
          </p:spPr>
        </p:pic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xmlns="" id="{B4F845B7-8AD5-5345-BE80-2BBCD338FB8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 xmlns="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26945" y="4390279"/>
              <a:ext cx="249702" cy="249702"/>
            </a:xfrm>
            <a:prstGeom prst="rect">
              <a:avLst/>
            </a:prstGeom>
          </p:spPr>
        </p:pic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xmlns="" id="{9F4819CC-6576-F641-B0B8-1665E6DF27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 xmlns="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20788" y="3994235"/>
              <a:ext cx="249702" cy="249702"/>
            </a:xfrm>
            <a:prstGeom prst="rect">
              <a:avLst/>
            </a:prstGeom>
          </p:spPr>
        </p:pic>
        <p:pic>
          <p:nvPicPr>
            <p:cNvPr id="43" name="Рисунок 42">
              <a:extLst>
                <a:ext uri="{FF2B5EF4-FFF2-40B4-BE49-F238E27FC236}">
                  <a16:creationId xmlns:a16="http://schemas.microsoft.com/office/drawing/2014/main" xmlns="" id="{17BF4B56-8968-C945-A3BC-729E08BAEB1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 xmlns="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10446" y="3607926"/>
              <a:ext cx="249702" cy="249702"/>
            </a:xfrm>
            <a:prstGeom prst="rect">
              <a:avLst/>
            </a:prstGeom>
          </p:spPr>
        </p:pic>
      </p:grpSp>
      <p:sp>
        <p:nvSpPr>
          <p:cNvPr id="37" name="123308, г. Москва, ул. Зорге, д.1"/>
          <p:cNvSpPr txBox="1"/>
          <p:nvPr/>
        </p:nvSpPr>
        <p:spPr>
          <a:xfrm>
            <a:off x="646361" y="2298871"/>
            <a:ext cx="2535952" cy="1904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4288" tIns="14288" rIns="14288" bIns="14288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</a:rPr>
              <a:t> Москва, Пресненская наб., д. 6, строение 2</a:t>
            </a:r>
            <a:endParaRPr sz="105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Методический центр 8-800-2000-550 (звонок бесплатный)"/>
          <p:cNvSpPr txBox="1"/>
          <p:nvPr/>
        </p:nvSpPr>
        <p:spPr>
          <a:xfrm>
            <a:off x="3845859" y="1920421"/>
            <a:ext cx="4706470" cy="11137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14288" tIns="14288" rIns="14288" bIns="14288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2000" dirty="0">
                <a:solidFill>
                  <a:schemeClr val="bg1"/>
                </a:solidFill>
                <a:latin typeface="Calibri" panose="020F0502020204030204" pitchFamily="34" charset="0"/>
              </a:rPr>
              <a:t>Методический центр</a:t>
            </a:r>
          </a:p>
          <a:p>
            <a:r>
              <a:rPr lang="ru-RU" sz="2000" dirty="0">
                <a:solidFill>
                  <a:schemeClr val="bg1"/>
                </a:solidFill>
                <a:latin typeface="Calibri" panose="020F0502020204030204" pitchFamily="34" charset="0"/>
              </a:rPr>
              <a:t>8-800-2000-550 (звонок бесплатный</a:t>
            </a:r>
            <a:r>
              <a:rPr sz="2000" dirty="0">
                <a:solidFill>
                  <a:schemeClr val="bg1"/>
                </a:solidFill>
                <a:latin typeface="Calibri" panose="020F0502020204030204" pitchFamily="34" charset="0"/>
              </a:rPr>
              <a:t>)</a:t>
            </a:r>
            <a:endParaRPr lang="ru-RU" sz="20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  <a:hlinkClick r:id="rId8"/>
              </a:rPr>
              <a:t>metod@rosuchebnik.ru</a:t>
            </a:r>
            <a:endParaRPr lang="ru-RU" sz="2000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sz="105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505562" y="1768903"/>
            <a:ext cx="3173754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l"/>
            <a:r>
              <a:rPr lang="en-US" u="sng" dirty="0">
                <a:solidFill>
                  <a:schemeClr val="bg1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rosuchebnik.ru, </a:t>
            </a:r>
            <a:r>
              <a:rPr lang="ru-RU" u="sng" dirty="0" err="1">
                <a:solidFill>
                  <a:schemeClr val="bg1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росучебник.рф</a:t>
            </a:r>
            <a:endParaRPr lang="ru-RU" u="sng" dirty="0">
              <a:solidFill>
                <a:schemeClr val="bg1"/>
              </a:solidFill>
              <a:latin typeface="Calibri" panose="020F0502020204030204" pitchFamily="34" charset="0"/>
              <a:ea typeface="Helios-Cond-Light"/>
              <a:cs typeface="Helios-Cond-Light"/>
            </a:endParaRPr>
          </a:p>
        </p:txBody>
      </p:sp>
      <p:sp>
        <p:nvSpPr>
          <p:cNvPr id="46" name="Хотите купить?"/>
          <p:cNvSpPr txBox="1"/>
          <p:nvPr/>
        </p:nvSpPr>
        <p:spPr>
          <a:xfrm>
            <a:off x="1540828" y="3447213"/>
            <a:ext cx="1027718" cy="2135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4288" tIns="14288" rIns="14288" bIns="14288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Хотите купить?</a:t>
            </a:r>
            <a:endParaRPr sz="1200" b="1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47" name="Официальный интернет-магазин учебной литературы book24.ru"/>
          <p:cNvSpPr txBox="1"/>
          <p:nvPr/>
        </p:nvSpPr>
        <p:spPr>
          <a:xfrm>
            <a:off x="1551811" y="4159948"/>
            <a:ext cx="1721533" cy="3058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4288" tIns="14288" rIns="14288" bIns="14288" anchor="ctr">
            <a:spAutoFit/>
          </a:bodyPr>
          <a:lstStyle/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9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Официальный интернет-магазин учебной литературы </a:t>
            </a:r>
            <a:r>
              <a:rPr lang="en-US" sz="9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book24.ru</a:t>
            </a:r>
            <a:endParaRPr sz="900" u="sng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ea typeface="HeliosCompressed"/>
              <a:cs typeface="HeliosCompressed"/>
              <a:sym typeface="HeliosCompressed"/>
              <a:hlinkClick r:id="rId9"/>
            </a:endParaRPr>
          </a:p>
        </p:txBody>
      </p:sp>
      <p:sp>
        <p:nvSpPr>
          <p:cNvPr id="48" name="Магазин электронных учебников lecta.ru"/>
          <p:cNvSpPr txBox="1"/>
          <p:nvPr/>
        </p:nvSpPr>
        <p:spPr>
          <a:xfrm>
            <a:off x="2020078" y="4692406"/>
            <a:ext cx="1721533" cy="3058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4288" tIns="14288" rIns="14288" bIns="14288" anchor="ctr">
            <a:spAutoFit/>
          </a:bodyPr>
          <a:lstStyle/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9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Цифровая среда школы</a:t>
            </a:r>
          </a:p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en-US" sz="9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lecta.rosuchebnik.ru</a:t>
            </a:r>
          </a:p>
        </p:txBody>
      </p:sp>
      <p:sp>
        <p:nvSpPr>
          <p:cNvPr id="49" name="Отдел продаж sales@rosuchebnik.ru"/>
          <p:cNvSpPr txBox="1"/>
          <p:nvPr/>
        </p:nvSpPr>
        <p:spPr>
          <a:xfrm>
            <a:off x="2020078" y="5225621"/>
            <a:ext cx="1721533" cy="3058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4288" tIns="14288" rIns="14288" bIns="14288" anchor="ctr">
            <a:spAutoFit/>
          </a:bodyPr>
          <a:lstStyle/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9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Отдел продаж </a:t>
            </a:r>
            <a:r>
              <a:rPr lang="en-US" sz="9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sales@rosuchebnik.ru</a:t>
            </a:r>
            <a:endParaRPr sz="9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50" name="Изображение" descr="Изображение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551811" y="3732459"/>
            <a:ext cx="969581" cy="484791"/>
          </a:xfrm>
          <a:prstGeom prst="rect">
            <a:avLst/>
          </a:prstGeom>
          <a:ln w="12700">
            <a:miter lim="400000"/>
          </a:ln>
        </p:spPr>
      </p:pic>
      <p:pic>
        <p:nvPicPr>
          <p:cNvPr id="51" name="RU LOGO.png" descr="RU LOGO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>
          <a:xfrm>
            <a:off x="1505020" y="5213380"/>
            <a:ext cx="362221" cy="366540"/>
          </a:xfrm>
          <a:prstGeom prst="rect">
            <a:avLst/>
          </a:prstGeom>
          <a:ln w="12700">
            <a:miter lim="400000"/>
          </a:ln>
        </p:spPr>
      </p:pic>
      <p:pic>
        <p:nvPicPr>
          <p:cNvPr id="5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/>
        </p:nvPicPr>
        <p:blipFill rotWithShape="1">
          <a:blip r:embed="rId12" cstate="print"/>
          <a:srcRect l="67677" r="20028"/>
          <a:stretch/>
        </p:blipFill>
        <p:spPr bwMode="auto">
          <a:xfrm>
            <a:off x="1525383" y="4610044"/>
            <a:ext cx="303028" cy="418984"/>
          </a:xfrm>
          <a:prstGeom prst="rect">
            <a:avLst/>
          </a:prstGeom>
          <a:noFill/>
        </p:spPr>
      </p:pic>
      <p:sp>
        <p:nvSpPr>
          <p:cNvPr id="27" name="+7 (495) 795 0535, 795 0545, info@rosuchebnik.ru"/>
          <p:cNvSpPr txBox="1"/>
          <p:nvPr/>
        </p:nvSpPr>
        <p:spPr>
          <a:xfrm>
            <a:off x="625937" y="2582833"/>
            <a:ext cx="3023259" cy="1419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14288" tIns="14288" rIns="14288" bIns="14288" anchor="ctr">
            <a:spAutoFit/>
          </a:bodyPr>
          <a:lstStyle/>
          <a:p>
            <a:pPr algn="l">
              <a:lnSpc>
                <a:spcPct val="70000"/>
              </a:lnSpc>
              <a:defRPr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sz="1050" dirty="0">
                <a:solidFill>
                  <a:schemeClr val="bg1"/>
                </a:solidFill>
                <a:latin typeface="Calibri" panose="020F0502020204030204" pitchFamily="34" charset="0"/>
              </a:rPr>
              <a:t>+7 (495) 795 05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sz="1050" dirty="0">
                <a:solidFill>
                  <a:schemeClr val="bg1"/>
                </a:solidFill>
                <a:latin typeface="Calibri" panose="020F0502020204030204" pitchFamily="34" charset="0"/>
              </a:rPr>
              <a:t>35, 795 05</a:t>
            </a:r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sz="1050" dirty="0">
                <a:solidFill>
                  <a:schemeClr val="bg1"/>
                </a:solidFill>
                <a:latin typeface="Calibri" panose="020F0502020204030204" pitchFamily="34" charset="0"/>
              </a:rPr>
              <a:t>45, </a:t>
            </a:r>
            <a:r>
              <a:rPr lang="en-US" sz="1050" u="sng" dirty="0">
                <a:solidFill>
                  <a:schemeClr val="bg1"/>
                </a:solidFill>
                <a:latin typeface="Calibri" panose="020F0502020204030204" pitchFamily="34" charset="0"/>
              </a:rPr>
              <a:t>info@rosuchebnik.ru</a:t>
            </a:r>
            <a:endParaRPr sz="1050" u="sng" dirty="0">
              <a:solidFill>
                <a:schemeClr val="bg1"/>
              </a:solidFill>
              <a:latin typeface="Calibri" panose="020F0502020204030204" pitchFamily="34" charset="0"/>
              <a:hlinkClick r:id="rId13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319403" y="208494"/>
            <a:ext cx="2249153" cy="538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394194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994" name="Rectangle 2"/>
          <p:cNvSpPr>
            <a:spLocks noGrp="1"/>
          </p:cNvSpPr>
          <p:nvPr>
            <p:ph type="title" idx="4294967295"/>
          </p:nvPr>
        </p:nvSpPr>
        <p:spPr>
          <a:xfrm>
            <a:off x="681329" y="221707"/>
            <a:ext cx="8301317" cy="728663"/>
          </a:xfrm>
        </p:spPr>
        <p:txBody>
          <a:bodyPr/>
          <a:lstStyle/>
          <a:p>
            <a:r>
              <a:rPr lang="ru-RU" sz="2000" b="1" dirty="0" smtClean="0">
                <a:solidFill>
                  <a:srgbClr val="2D3494"/>
                </a:solidFill>
              </a:rPr>
              <a:t>Кто постигает новое, имея старое, тот может быть учителем</a:t>
            </a:r>
            <a:r>
              <a:rPr lang="ru-RU" sz="2000" i="1" dirty="0" smtClean="0"/>
              <a:t> </a:t>
            </a:r>
            <a:br>
              <a:rPr lang="ru-RU" sz="2000" i="1" dirty="0" smtClean="0"/>
            </a:br>
            <a:r>
              <a:rPr lang="ru-RU" sz="2000" i="1" dirty="0" smtClean="0"/>
              <a:t>										</a:t>
            </a:r>
            <a:r>
              <a:rPr lang="ru-RU" sz="1600" i="1" dirty="0" smtClean="0"/>
              <a:t>Конфуций </a:t>
            </a:r>
            <a:r>
              <a:rPr lang="ru-RU" sz="1600" b="1" dirty="0" smtClean="0">
                <a:solidFill>
                  <a:srgbClr val="2D3494"/>
                </a:solidFill>
              </a:rPr>
              <a:t/>
            </a:r>
            <a:br>
              <a:rPr lang="ru-RU" sz="1600" b="1" dirty="0" smtClean="0">
                <a:solidFill>
                  <a:srgbClr val="2D3494"/>
                </a:solidFill>
              </a:rPr>
            </a:br>
            <a:r>
              <a:rPr lang="ru-RU" sz="2800" b="1" dirty="0" smtClean="0">
                <a:solidFill>
                  <a:srgbClr val="2D3494"/>
                </a:solidFill>
              </a:rPr>
              <a:t>									</a:t>
            </a:r>
            <a:endParaRPr lang="ru-RU" sz="1800" b="1" i="1" dirty="0" smtClean="0">
              <a:solidFill>
                <a:srgbClr val="2D3494"/>
              </a:solidFill>
            </a:endParaRPr>
          </a:p>
        </p:txBody>
      </p:sp>
      <p:sp>
        <p:nvSpPr>
          <p:cNvPr id="212995" name="Rectangle 3"/>
          <p:cNvSpPr>
            <a:spLocks noGrp="1"/>
          </p:cNvSpPr>
          <p:nvPr>
            <p:ph type="body" idx="4294967295"/>
          </p:nvPr>
        </p:nvSpPr>
        <p:spPr>
          <a:xfrm>
            <a:off x="2456339" y="1456522"/>
            <a:ext cx="6687671" cy="3844684"/>
          </a:xfrm>
        </p:spPr>
        <p:txBody>
          <a:bodyPr/>
          <a:lstStyle/>
          <a:p>
            <a:r>
              <a:rPr lang="ru-RU" sz="2000" b="1" dirty="0" smtClean="0">
                <a:solidFill>
                  <a:srgbClr val="2D3494"/>
                </a:solidFill>
              </a:rPr>
              <a:t>	Долженкова Наталья Олеговна</a:t>
            </a:r>
            <a:r>
              <a:rPr lang="en-US" sz="2000" b="1" dirty="0" smtClean="0">
                <a:solidFill>
                  <a:srgbClr val="2D3494"/>
                </a:solidFill>
              </a:rPr>
              <a:t>​</a:t>
            </a:r>
            <a:endParaRPr lang="ru-RU" sz="2000" b="1" dirty="0" smtClean="0">
              <a:solidFill>
                <a:srgbClr val="2D3494"/>
              </a:solidFill>
            </a:endParaRPr>
          </a:p>
          <a:p>
            <a:pPr>
              <a:buFont typeface="Arial" charset="0"/>
              <a:buNone/>
            </a:pPr>
            <a:r>
              <a:rPr lang="ru-RU" sz="1800" dirty="0" smtClean="0"/>
              <a:t>ведущий </a:t>
            </a:r>
            <a:r>
              <a:rPr lang="en-US" sz="1800" dirty="0" err="1" smtClean="0"/>
              <a:t>методист</a:t>
            </a:r>
            <a:r>
              <a:rPr lang="en-US" sz="1800" dirty="0" smtClean="0"/>
              <a:t> </a:t>
            </a:r>
            <a:r>
              <a:rPr lang="en-US" sz="1800" dirty="0" err="1" smtClean="0"/>
              <a:t>по</a:t>
            </a:r>
            <a:r>
              <a:rPr lang="en-US" sz="1800" dirty="0" smtClean="0"/>
              <a:t> </a:t>
            </a:r>
            <a:r>
              <a:rPr lang="ru-RU" sz="1800" dirty="0" smtClean="0"/>
              <a:t>биологии</a:t>
            </a:r>
            <a:r>
              <a:rPr lang="en-US" sz="1800" dirty="0" smtClean="0"/>
              <a:t> ​</a:t>
            </a:r>
            <a:r>
              <a:rPr lang="en-US" sz="1800" dirty="0" err="1" smtClean="0"/>
              <a:t>корпорации</a:t>
            </a:r>
            <a:r>
              <a:rPr lang="en-US" sz="1800" dirty="0" smtClean="0"/>
              <a:t> </a:t>
            </a:r>
            <a:endParaRPr lang="ru-RU" sz="1800" dirty="0" smtClean="0"/>
          </a:p>
          <a:p>
            <a:pPr>
              <a:buFont typeface="Arial" charset="0"/>
              <a:buNone/>
            </a:pPr>
            <a:r>
              <a:rPr lang="en-US" sz="1800" dirty="0" smtClean="0"/>
              <a:t>«</a:t>
            </a:r>
            <a:r>
              <a:rPr lang="en-US" sz="1800" dirty="0" err="1" smtClean="0"/>
              <a:t>Российский</a:t>
            </a:r>
            <a:r>
              <a:rPr lang="en-US" sz="1800" dirty="0" smtClean="0"/>
              <a:t> </a:t>
            </a:r>
            <a:r>
              <a:rPr lang="en-US" sz="1800" dirty="0" err="1" smtClean="0"/>
              <a:t>учебник</a:t>
            </a:r>
            <a:r>
              <a:rPr lang="en-US" sz="1800" dirty="0" smtClean="0"/>
              <a:t>» </a:t>
            </a:r>
            <a:r>
              <a:rPr lang="ru-RU" sz="1800" dirty="0" smtClean="0"/>
              <a:t>​</a:t>
            </a:r>
          </a:p>
          <a:p>
            <a:endParaRPr lang="ru-RU" dirty="0" smtClean="0"/>
          </a:p>
          <a:p>
            <a:pPr>
              <a:buFont typeface="Arial" charset="0"/>
              <a:buNone/>
            </a:pPr>
            <a:r>
              <a:rPr lang="ru-RU" sz="2000" dirty="0" smtClean="0">
                <a:sym typeface="Helios-Cond-Light"/>
              </a:rPr>
              <a:t>Мои контакты:</a:t>
            </a:r>
          </a:p>
          <a:p>
            <a:r>
              <a:rPr lang="ru-RU" sz="2000" dirty="0" smtClean="0">
                <a:sym typeface="Helios-Cond-Light"/>
              </a:rPr>
              <a:t>8(495)795-05-35 доб.71-29;   </a:t>
            </a:r>
            <a:r>
              <a:rPr lang="ru-RU" sz="2000" dirty="0" smtClean="0">
                <a:sym typeface="Helios-Cond-Light"/>
              </a:rPr>
              <a:t>8-903-506-21-69</a:t>
            </a:r>
            <a:endParaRPr lang="ru-RU" sz="2000" dirty="0" smtClean="0">
              <a:sym typeface="Helios-Cond-Light"/>
            </a:endParaRPr>
          </a:p>
          <a:p>
            <a:r>
              <a:rPr lang="en-US" sz="2000" dirty="0" smtClean="0">
                <a:sym typeface="Helios-Cond-Light"/>
                <a:hlinkClick r:id="rId2"/>
              </a:rPr>
              <a:t>Dolzhenkova.NO@rosuchebnik.ru</a:t>
            </a:r>
            <a:endParaRPr lang="ru-RU" sz="2000" dirty="0" smtClean="0">
              <a:sym typeface="Helios-Cond-Light"/>
            </a:endParaRPr>
          </a:p>
          <a:p>
            <a:pPr>
              <a:buFont typeface="Arial" charset="0"/>
              <a:buNone/>
            </a:pPr>
            <a:r>
              <a:rPr lang="ru-RU" sz="2000" dirty="0" smtClean="0">
                <a:sym typeface="Helios-Cond-Light"/>
              </a:rPr>
              <a:t>Я в социальных сетях:</a:t>
            </a:r>
            <a:endParaRPr lang="en-US" sz="2000" dirty="0" smtClean="0">
              <a:sym typeface="Helios-Cond-Light"/>
            </a:endParaRPr>
          </a:p>
          <a:p>
            <a:r>
              <a:rPr lang="ru-RU" sz="2000" dirty="0" smtClean="0">
                <a:sym typeface="Helios-Cond-Light"/>
                <a:hlinkClick r:id="rId3"/>
              </a:rPr>
              <a:t>https://www.facebook.com/profile.php?id=100003341702549</a:t>
            </a:r>
            <a:endParaRPr lang="ru-RU" sz="2000" dirty="0" smtClean="0">
              <a:sym typeface="Helios-Cond-Light"/>
            </a:endParaRPr>
          </a:p>
          <a:p>
            <a:r>
              <a:rPr lang="ru-RU" sz="2000" dirty="0" smtClean="0">
                <a:sym typeface="Helios-Cond-Light"/>
                <a:hlinkClick r:id="rId4"/>
              </a:rPr>
              <a:t>https://vk.com/id4891094</a:t>
            </a:r>
            <a:endParaRPr lang="ru-RU" sz="2000" dirty="0" smtClean="0">
              <a:sym typeface="Helios-Cond-Light"/>
            </a:endParaRPr>
          </a:p>
          <a:p>
            <a:endParaRPr lang="ru-RU" dirty="0" smtClean="0">
              <a:sym typeface="Helios-Cond-Light"/>
            </a:endParaRPr>
          </a:p>
          <a:p>
            <a:endParaRPr lang="ru-RU" dirty="0" smtClean="0"/>
          </a:p>
        </p:txBody>
      </p:sp>
      <p:pic>
        <p:nvPicPr>
          <p:cNvPr id="5" name="Picture 15" descr="26166511_1513788218742554_2085992669868630907_n"/>
          <p:cNvPicPr>
            <a:picLocks noChangeAspect="1" noChangeArrowheads="1"/>
          </p:cNvPicPr>
          <p:nvPr/>
        </p:nvPicPr>
        <p:blipFill>
          <a:blip r:embed="rId5" cstate="print"/>
          <a:srcRect l="7147" t="20963" r="47289" b="28093"/>
          <a:stretch>
            <a:fillRect/>
          </a:stretch>
        </p:blipFill>
        <p:spPr bwMode="auto">
          <a:xfrm>
            <a:off x="268941" y="1877001"/>
            <a:ext cx="1945342" cy="2784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5851" y="-340038"/>
            <a:ext cx="9008151" cy="680076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2700" dirty="0" smtClean="0"/>
              <a:t>Письмо Министерства образования и науки РФ от 28 октября 2015 г. № 08-1786 “О рабочих программах учебных предметов” </a:t>
            </a:r>
            <a:r>
              <a:rPr lang="en-US" sz="2700" dirty="0" smtClean="0"/>
              <a:t>https://rosuchebnik.ru 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8" name="Рисунок 7"/>
          <p:cNvPicPr/>
          <p:nvPr/>
        </p:nvPicPr>
        <p:blipFill>
          <a:blip r:embed="rId2" cstate="print"/>
          <a:srcRect t="7574" r="26969" b="3028"/>
          <a:stretch>
            <a:fillRect/>
          </a:stretch>
        </p:blipFill>
        <p:spPr bwMode="auto">
          <a:xfrm>
            <a:off x="4572013" y="1700808"/>
            <a:ext cx="4338365" cy="4320480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5" name="Рисунок 4"/>
          <p:cNvPicPr/>
          <p:nvPr/>
        </p:nvPicPr>
        <p:blipFill>
          <a:blip r:embed="rId3" cstate="print"/>
          <a:srcRect l="1764" t="12024" r="28327" b="4208"/>
          <a:stretch>
            <a:fillRect/>
          </a:stretch>
        </p:blipFill>
        <p:spPr bwMode="auto">
          <a:xfrm>
            <a:off x="107504" y="1700808"/>
            <a:ext cx="4320480" cy="4248472"/>
          </a:xfrm>
          <a:prstGeom prst="rect">
            <a:avLst/>
          </a:prstGeom>
          <a:noFill/>
          <a:ln w="9525">
            <a:solidFill>
              <a:schemeClr val="bg2">
                <a:lumMod val="75000"/>
              </a:schemeClr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/>
          <p:nvPr/>
        </p:nvPicPr>
        <p:blipFill>
          <a:blip r:embed="rId2" cstate="print"/>
          <a:srcRect l="2351" r="1575"/>
          <a:stretch>
            <a:fillRect/>
          </a:stretch>
        </p:blipFill>
        <p:spPr bwMode="auto">
          <a:xfrm>
            <a:off x="107506" y="188640"/>
            <a:ext cx="4392488" cy="6264696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7" name="Рисунок 6"/>
          <p:cNvPicPr/>
          <p:nvPr/>
        </p:nvPicPr>
        <p:blipFill>
          <a:blip r:embed="rId3" cstate="print"/>
          <a:srcRect l="3252"/>
          <a:stretch>
            <a:fillRect/>
          </a:stretch>
        </p:blipFill>
        <p:spPr bwMode="auto">
          <a:xfrm>
            <a:off x="4716018" y="188640"/>
            <a:ext cx="4283968" cy="6264696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sp>
        <p:nvSpPr>
          <p:cNvPr id="10" name="Овал 9"/>
          <p:cNvSpPr/>
          <p:nvPr/>
        </p:nvSpPr>
        <p:spPr>
          <a:xfrm>
            <a:off x="4860034" y="1268760"/>
            <a:ext cx="4176464" cy="100811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012" y="188640"/>
            <a:ext cx="4114800" cy="1143000"/>
          </a:xfrm>
        </p:spPr>
        <p:txBody>
          <a:bodyPr>
            <a:normAutofit fontScale="90000"/>
          </a:bodyPr>
          <a:lstStyle/>
          <a:p>
            <a:r>
              <a:rPr lang="ru-RU" sz="4000" spc="-5" dirty="0" smtClean="0">
                <a:latin typeface="Cambria" pitchFamily="18" charset="0"/>
              </a:rPr>
              <a:t>Методический      	шлейф </a:t>
            </a:r>
            <a:endParaRPr lang="ru-RU" sz="4000" dirty="0"/>
          </a:p>
        </p:txBody>
      </p:sp>
      <p:pic>
        <p:nvPicPr>
          <p:cNvPr id="79874" name="Picture 2" descr="Биология. 5 класс. Рабочая тетрадь.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46703" y="1914835"/>
            <a:ext cx="1667553" cy="216024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79876" name="Picture 4" descr="Биология. 5-6 классы. Рабочая тетрадь №1.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307" y="2004738"/>
            <a:ext cx="1584175" cy="2181008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79880" name="Picture 8" descr="Биология. 5-6 классы. Рабочая тетрадь №2.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53683" y="3694746"/>
            <a:ext cx="1659973" cy="2160240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</p:pic>
      <p:pic>
        <p:nvPicPr>
          <p:cNvPr id="79882" name="Picture 10" descr="Письмо Российской академии образования по использованию рабочих тетрадей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44009" y="188658"/>
            <a:ext cx="3384376" cy="4931519"/>
          </a:xfrm>
          <a:prstGeom prst="rect">
            <a:avLst/>
          </a:prstGeom>
          <a:noFill/>
        </p:spPr>
      </p:pic>
      <p:pic>
        <p:nvPicPr>
          <p:cNvPr id="79884" name="Picture 12" descr="Письмо Российской академии образования по использованию рабочих тетрадей."/>
          <p:cNvPicPr>
            <a:picLocks noChangeAspect="1" noChangeArrowheads="1"/>
          </p:cNvPicPr>
          <p:nvPr/>
        </p:nvPicPr>
        <p:blipFill>
          <a:blip r:embed="rId6" cstate="print"/>
          <a:srcRect t="7734"/>
          <a:stretch>
            <a:fillRect/>
          </a:stretch>
        </p:blipFill>
        <p:spPr bwMode="auto">
          <a:xfrm>
            <a:off x="4644008" y="4941168"/>
            <a:ext cx="3240360" cy="1718214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91586" y="1071547"/>
            <a:ext cx="8152380" cy="3733816"/>
          </a:xfrm>
          <a:prstGeom prst="rect">
            <a:avLst/>
          </a:prstGeom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85720" y="1732025"/>
            <a:ext cx="8715404" cy="2692338"/>
          </a:xfrm>
          <a:prstGeom prst="rect">
            <a:avLst/>
          </a:prstGeom>
        </p:spPr>
      </p:pic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3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21188" y="1214422"/>
            <a:ext cx="8022778" cy="3600466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/>
          <p:nvPr/>
        </p:nvPicPr>
        <p:blipFill>
          <a:blip r:embed="rId2" cstate="print"/>
          <a:srcRect l="4688"/>
          <a:stretch>
            <a:fillRect/>
          </a:stretch>
        </p:blipFill>
        <p:spPr bwMode="auto">
          <a:xfrm>
            <a:off x="179512" y="260648"/>
            <a:ext cx="4392488" cy="6336704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4" name="Рисунок 3"/>
          <p:cNvPicPr/>
          <p:nvPr/>
        </p:nvPicPr>
        <p:blipFill>
          <a:blip r:embed="rId3" cstate="print"/>
          <a:srcRect l="4959" t="-1250" r="821"/>
          <a:stretch>
            <a:fillRect/>
          </a:stretch>
        </p:blipFill>
        <p:spPr bwMode="auto">
          <a:xfrm>
            <a:off x="4716018" y="260648"/>
            <a:ext cx="4283968" cy="6408712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</p:pic>
      <p:sp>
        <p:nvSpPr>
          <p:cNvPr id="5" name="Овал 4"/>
          <p:cNvSpPr/>
          <p:nvPr/>
        </p:nvSpPr>
        <p:spPr>
          <a:xfrm>
            <a:off x="4644010" y="404664"/>
            <a:ext cx="4392488" cy="136815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0835" y="260648"/>
            <a:ext cx="5330455" cy="648642"/>
          </a:xfrm>
        </p:spPr>
        <p:txBody>
          <a:bodyPr/>
          <a:lstStyle/>
          <a:p>
            <a:r>
              <a:rPr lang="ru-RU" sz="2000" dirty="0" smtClean="0"/>
              <a:t>На сегодняшний день в СМИ про ФПУ</a:t>
            </a:r>
            <a:endParaRPr lang="ru-RU" sz="2000" dirty="0"/>
          </a:p>
        </p:txBody>
      </p:sp>
      <p:pic>
        <p:nvPicPr>
          <p:cNvPr id="3" name="Рисунок 2"/>
          <p:cNvPicPr/>
          <p:nvPr/>
        </p:nvPicPr>
        <p:blipFill>
          <a:blip r:embed="rId2" cstate="print"/>
          <a:srcRect l="3688" t="5611" r="27100" b="8639"/>
          <a:stretch>
            <a:fillRect/>
          </a:stretch>
        </p:blipFill>
        <p:spPr bwMode="auto">
          <a:xfrm>
            <a:off x="120770" y="944951"/>
            <a:ext cx="3976778" cy="386858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4" name="Рисунок 3"/>
          <p:cNvPicPr/>
          <p:nvPr/>
        </p:nvPicPr>
        <p:blipFill>
          <a:blip r:embed="rId3" cstate="print"/>
          <a:srcRect l="2405" t="5010" r="25922" b="14629"/>
          <a:stretch>
            <a:fillRect/>
          </a:stretch>
        </p:blipFill>
        <p:spPr bwMode="auto">
          <a:xfrm>
            <a:off x="5695322" y="353683"/>
            <a:ext cx="3241646" cy="284572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6" name="Рисунок 5"/>
          <p:cNvPicPr/>
          <p:nvPr/>
        </p:nvPicPr>
        <p:blipFill>
          <a:blip r:embed="rId4" cstate="print"/>
          <a:srcRect l="1122" t="4810" r="32015" b="2204"/>
          <a:stretch>
            <a:fillRect/>
          </a:stretch>
        </p:blipFill>
        <p:spPr bwMode="auto">
          <a:xfrm>
            <a:off x="3957636" y="1900686"/>
            <a:ext cx="3971925" cy="44196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03676828"/>
              </p:ext>
            </p:extLst>
          </p:nvPr>
        </p:nvGraphicFramePr>
        <p:xfrm>
          <a:off x="1193" y="858441"/>
          <a:ext cx="1191" cy="1191"/>
        </p:xfrm>
        <a:graphic>
          <a:graphicData uri="http://schemas.openxmlformats.org/presentationml/2006/ole">
            <p:oleObj spid="_x0000_s125596" name="think-cell Slide" r:id="rId5" imgW="360" imgH="360" progId="">
              <p:embed/>
            </p:oleObj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11" y="857250"/>
            <a:ext cx="119063" cy="11906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Title 2"/>
          <p:cNvSpPr>
            <a:spLocks noGrp="1"/>
          </p:cNvSpPr>
          <p:nvPr>
            <p:ph type="title"/>
          </p:nvPr>
        </p:nvSpPr>
        <p:spPr>
          <a:xfrm>
            <a:off x="8" y="114300"/>
            <a:ext cx="8893175" cy="67846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1800" dirty="0">
                <a:latin typeface="+mj-lt"/>
              </a:rPr>
              <a:t>В СЛУЧАЕ, ЕСЛИ ВЫ РАБОТАЕТЕ ПО </a:t>
            </a:r>
            <a:r>
              <a:rPr lang="ru-RU" sz="1800" dirty="0">
                <a:solidFill>
                  <a:srgbClr val="EB2049"/>
                </a:solidFill>
                <a:latin typeface="+mj-lt"/>
              </a:rPr>
              <a:t>УМК </a:t>
            </a:r>
            <a:r>
              <a:rPr lang="ru-RU" sz="1800" dirty="0" smtClean="0">
                <a:solidFill>
                  <a:srgbClr val="EB2049"/>
                </a:solidFill>
                <a:latin typeface="+mj-lt"/>
              </a:rPr>
              <a:t>Пасечника В.В.,УМК Сонина Н.И. , Суховой Т.С., 	</a:t>
            </a:r>
            <a:r>
              <a:rPr lang="ru-RU" sz="1800" dirty="0" smtClean="0">
                <a:latin typeface="+mj-lt"/>
              </a:rPr>
              <a:t>МЫ </a:t>
            </a:r>
            <a:r>
              <a:rPr lang="ru-RU" sz="1800" dirty="0">
                <a:latin typeface="+mj-lt"/>
              </a:rPr>
              <a:t>ПРЕДЛАГАЕМ ВАМ СЛЕДУЮЩИЙ АЛГОРИТМ ПРИНЯТИЯ РЕШЕНИЙ</a:t>
            </a:r>
          </a:p>
        </p:txBody>
      </p:sp>
      <p:sp>
        <p:nvSpPr>
          <p:cNvPr id="13" name="Text Placeholder 3"/>
          <p:cNvSpPr txBox="1">
            <a:spLocks/>
          </p:cNvSpPr>
          <p:nvPr/>
        </p:nvSpPr>
        <p:spPr>
          <a:xfrm>
            <a:off x="4302379" y="4547525"/>
            <a:ext cx="4553864" cy="678854"/>
          </a:xfrm>
          <a:prstGeom prst="rect">
            <a:avLst/>
          </a:prstGeom>
        </p:spPr>
        <p:txBody>
          <a:bodyPr vert="horz" lIns="54000" tIns="54000" rIns="27000" bIns="540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440"/>
              </a:lnSpc>
            </a:pPr>
            <a:r>
              <a:rPr lang="ru-RU" sz="1600" dirty="0">
                <a:latin typeface="+mn-lt"/>
              </a:rPr>
              <a:t>Если вынуждены переходить на другую линию</a:t>
            </a:r>
            <a:r>
              <a:rPr lang="en-US" sz="1600" dirty="0">
                <a:latin typeface="+mn-lt"/>
              </a:rPr>
              <a:t>,</a:t>
            </a:r>
            <a:r>
              <a:rPr lang="ru-RU" sz="1600" dirty="0">
                <a:latin typeface="+mn-lt"/>
              </a:rPr>
              <a:t> мы дадим вам рекомендации. </a:t>
            </a:r>
            <a:r>
              <a:rPr lang="ru-RU" sz="1600" b="1" dirty="0">
                <a:solidFill>
                  <a:srgbClr val="2D3494"/>
                </a:solidFill>
                <a:latin typeface="+mn-lt"/>
              </a:rPr>
              <a:t>Обращайтесь к нашим методистам за рекомендациями</a:t>
            </a:r>
            <a:r>
              <a:rPr lang="en-US" sz="1600" b="1" dirty="0">
                <a:solidFill>
                  <a:srgbClr val="2D3494"/>
                </a:solidFill>
                <a:latin typeface="+mn-lt"/>
              </a:rPr>
              <a:t>: </a:t>
            </a:r>
            <a:r>
              <a:rPr lang="en-US" sz="1600" b="1" dirty="0">
                <a:solidFill>
                  <a:srgbClr val="FC0652"/>
                </a:solidFill>
                <a:latin typeface="+mn-lt"/>
              </a:rPr>
              <a:t>metod@rosuchebnik.ru, 8-800-2000-550</a:t>
            </a:r>
            <a:endParaRPr lang="ru-RU" sz="1600" b="1" dirty="0">
              <a:solidFill>
                <a:srgbClr val="FC0652"/>
              </a:solidFill>
              <a:latin typeface="+mn-lt"/>
            </a:endParaRP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3381214" y="3706760"/>
            <a:ext cx="5529427" cy="613547"/>
          </a:xfrm>
          <a:prstGeom prst="rect">
            <a:avLst/>
          </a:prstGeom>
        </p:spPr>
        <p:txBody>
          <a:bodyPr vert="horz" lIns="54000" tIns="54000" rIns="27000" bIns="54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440"/>
              </a:lnSpc>
              <a:spcBef>
                <a:spcPts val="0"/>
              </a:spcBef>
            </a:pPr>
            <a:r>
              <a:rPr lang="ru-RU" sz="1600" dirty="0">
                <a:latin typeface="+mn-lt"/>
              </a:rPr>
              <a:t>Если не выполняется норматив по обеспечению учебниками, </a:t>
            </a:r>
            <a:r>
              <a:rPr lang="ru-RU" sz="1600" b="1" dirty="0">
                <a:solidFill>
                  <a:srgbClr val="2D3494"/>
                </a:solidFill>
                <a:latin typeface="+mn-lt"/>
              </a:rPr>
              <a:t>вы можете купить оставшиеся на складе учебники 2018 года за внебюджетные средства</a:t>
            </a:r>
            <a:endParaRPr lang="ru-RU" sz="1600" b="1" dirty="0">
              <a:solidFill>
                <a:srgbClr val="408671"/>
              </a:solidFill>
              <a:latin typeface="+mn-lt"/>
            </a:endParaRPr>
          </a:p>
        </p:txBody>
      </p:sp>
      <p:sp>
        <p:nvSpPr>
          <p:cNvPr id="16" name="Text Placeholder 3"/>
          <p:cNvSpPr txBox="1">
            <a:spLocks/>
          </p:cNvSpPr>
          <p:nvPr/>
        </p:nvSpPr>
        <p:spPr>
          <a:xfrm>
            <a:off x="1340299" y="2055867"/>
            <a:ext cx="6143509" cy="613547"/>
          </a:xfrm>
          <a:prstGeom prst="rect">
            <a:avLst/>
          </a:prstGeom>
        </p:spPr>
        <p:txBody>
          <a:bodyPr vert="horz" lIns="54000" tIns="54000" rIns="27000" bIns="54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440"/>
              </a:lnSpc>
            </a:pPr>
            <a:r>
              <a:rPr lang="ru-RU" sz="1600" dirty="0">
                <a:latin typeface="+mn-lt"/>
              </a:rPr>
              <a:t>Продолжить работать по привычному учебнику</a:t>
            </a:r>
          </a:p>
          <a:p>
            <a:pPr>
              <a:lnSpc>
                <a:spcPts val="1440"/>
              </a:lnSpc>
            </a:pPr>
            <a:r>
              <a:rPr lang="ru-RU" sz="1600" b="1" dirty="0">
                <a:solidFill>
                  <a:srgbClr val="2D3494"/>
                </a:solidFill>
                <a:latin typeface="+mn-lt"/>
              </a:rPr>
              <a:t>Ожидайте возвращения</a:t>
            </a:r>
            <a:r>
              <a:rPr lang="ru-RU" sz="1600" dirty="0">
                <a:solidFill>
                  <a:srgbClr val="2D3494"/>
                </a:solidFill>
                <a:latin typeface="+mn-lt"/>
              </a:rPr>
              <a:t> </a:t>
            </a:r>
            <a:r>
              <a:rPr lang="ru-RU" sz="1600" dirty="0">
                <a:latin typeface="+mn-lt"/>
              </a:rPr>
              <a:t>линий УМК </a:t>
            </a:r>
            <a:r>
              <a:rPr lang="ru-RU" sz="1600" dirty="0" smtClean="0">
                <a:latin typeface="+mn-lt"/>
              </a:rPr>
              <a:t>по биологии</a:t>
            </a:r>
            <a:endParaRPr lang="ru-RU" sz="1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Text Placeholder 3"/>
          <p:cNvSpPr txBox="1">
            <a:spLocks/>
          </p:cNvSpPr>
          <p:nvPr/>
        </p:nvSpPr>
        <p:spPr>
          <a:xfrm>
            <a:off x="2366932" y="2848796"/>
            <a:ext cx="5529427" cy="613547"/>
          </a:xfrm>
          <a:prstGeom prst="rect">
            <a:avLst/>
          </a:prstGeom>
        </p:spPr>
        <p:txBody>
          <a:bodyPr vert="horz" lIns="54000" tIns="54000" rIns="27000" bIns="54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ts val="1440"/>
              </a:lnSpc>
            </a:pPr>
            <a:r>
              <a:rPr lang="ru-RU" sz="1600" dirty="0">
                <a:latin typeface="+mn-lt"/>
              </a:rPr>
              <a:t>Проверить наличие учебников в фондах. Если учебников не хватает, у вас есть законное право </a:t>
            </a:r>
            <a:r>
              <a:rPr lang="ru-RU" sz="1600" b="1" dirty="0">
                <a:solidFill>
                  <a:srgbClr val="2D3494"/>
                </a:solidFill>
                <a:latin typeface="+mn-lt"/>
              </a:rPr>
              <a:t>купить вылетевшие из ФПУ УМК в виде учебных пособий за бюджетные средства</a:t>
            </a:r>
          </a:p>
        </p:txBody>
      </p:sp>
      <p:grpSp>
        <p:nvGrpSpPr>
          <p:cNvPr id="18" name="Группа 17"/>
          <p:cNvGrpSpPr/>
          <p:nvPr/>
        </p:nvGrpSpPr>
        <p:grpSpPr>
          <a:xfrm>
            <a:off x="262648" y="2839491"/>
            <a:ext cx="4122902" cy="2501009"/>
            <a:chOff x="1673045" y="3139176"/>
            <a:chExt cx="4751148" cy="2882112"/>
          </a:xfrm>
        </p:grpSpPr>
        <p:cxnSp>
          <p:nvCxnSpPr>
            <p:cNvPr id="19" name="Прямая соединительная линия 18"/>
            <p:cNvCxnSpPr/>
            <p:nvPr/>
          </p:nvCxnSpPr>
          <p:spPr>
            <a:xfrm>
              <a:off x="1673045" y="3139176"/>
              <a:ext cx="1193669" cy="0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0" name="Прямая соединительная линия 19"/>
            <p:cNvCxnSpPr/>
            <p:nvPr/>
          </p:nvCxnSpPr>
          <p:spPr>
            <a:xfrm>
              <a:off x="2866714" y="3139176"/>
              <a:ext cx="0" cy="960704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2" name="Прямая соединительная линия 21"/>
            <p:cNvCxnSpPr/>
            <p:nvPr/>
          </p:nvCxnSpPr>
          <p:spPr>
            <a:xfrm>
              <a:off x="2866714" y="4099880"/>
              <a:ext cx="1193669" cy="0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3" name="Прямая соединительная линия 22"/>
            <p:cNvCxnSpPr/>
            <p:nvPr/>
          </p:nvCxnSpPr>
          <p:spPr>
            <a:xfrm>
              <a:off x="4055625" y="5060584"/>
              <a:ext cx="1193669" cy="0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5230524" y="6021288"/>
              <a:ext cx="1193669" cy="0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6" name="Прямая соединительная линия 25"/>
            <p:cNvCxnSpPr/>
            <p:nvPr/>
          </p:nvCxnSpPr>
          <p:spPr>
            <a:xfrm>
              <a:off x="4055625" y="4099880"/>
              <a:ext cx="0" cy="960704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  <p:cxnSp>
          <p:nvCxnSpPr>
            <p:cNvPr id="27" name="Прямая соединительная линия 26"/>
            <p:cNvCxnSpPr/>
            <p:nvPr/>
          </p:nvCxnSpPr>
          <p:spPr>
            <a:xfrm>
              <a:off x="5230524" y="5060584"/>
              <a:ext cx="0" cy="960704"/>
            </a:xfrm>
            <a:prstGeom prst="line">
              <a:avLst/>
            </a:prstGeom>
            <a:solidFill>
              <a:srgbClr val="AE2C25"/>
            </a:solidFill>
            <a:ln w="19050">
              <a:solidFill>
                <a:srgbClr val="2D3494"/>
              </a:solidFill>
              <a:miter lim="800000"/>
              <a:headEnd type="none" w="med" len="med"/>
              <a:tailEnd type="none"/>
            </a:ln>
          </p:spPr>
        </p:cxnSp>
      </p:grpSp>
      <p:sp>
        <p:nvSpPr>
          <p:cNvPr id="28" name="Овал 27"/>
          <p:cNvSpPr/>
          <p:nvPr/>
        </p:nvSpPr>
        <p:spPr>
          <a:xfrm>
            <a:off x="492475" y="2018951"/>
            <a:ext cx="730056" cy="730056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2100" dirty="0" err="1">
              <a:solidFill>
                <a:schemeClr val="bg1"/>
              </a:solidFill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10234" y="2074511"/>
            <a:ext cx="493910" cy="576230"/>
          </a:xfrm>
          <a:prstGeom prst="rect">
            <a:avLst/>
          </a:prstGeom>
        </p:spPr>
      </p:pic>
      <p:sp>
        <p:nvSpPr>
          <p:cNvPr id="31" name="Овал 12"/>
          <p:cNvSpPr/>
          <p:nvPr/>
        </p:nvSpPr>
        <p:spPr>
          <a:xfrm>
            <a:off x="1511516" y="2835753"/>
            <a:ext cx="730056" cy="730056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2100" dirty="0" err="1">
              <a:solidFill>
                <a:schemeClr val="bg1"/>
              </a:solidFill>
            </a:endParaRPr>
          </a:p>
        </p:txBody>
      </p:sp>
      <p:pic>
        <p:nvPicPr>
          <p:cNvPr id="32" name="Рисунок 16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623350" y="2945499"/>
            <a:ext cx="503241" cy="477050"/>
          </a:xfrm>
          <a:prstGeom prst="rect">
            <a:avLst/>
          </a:prstGeom>
        </p:spPr>
      </p:pic>
      <p:sp>
        <p:nvSpPr>
          <p:cNvPr id="33" name="Овал 15"/>
          <p:cNvSpPr/>
          <p:nvPr/>
        </p:nvSpPr>
        <p:spPr>
          <a:xfrm>
            <a:off x="2540176" y="3658436"/>
            <a:ext cx="730056" cy="730056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2100" dirty="0" err="1">
              <a:solidFill>
                <a:schemeClr val="bg1"/>
              </a:solidFill>
            </a:endParaRP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678281" y="3779170"/>
            <a:ext cx="455750" cy="484057"/>
          </a:xfrm>
          <a:prstGeom prst="rect">
            <a:avLst/>
          </a:prstGeom>
        </p:spPr>
      </p:pic>
      <p:sp>
        <p:nvSpPr>
          <p:cNvPr id="38" name="Овал 14"/>
          <p:cNvSpPr/>
          <p:nvPr/>
        </p:nvSpPr>
        <p:spPr>
          <a:xfrm>
            <a:off x="3498730" y="4544621"/>
            <a:ext cx="730056" cy="730056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2100" dirty="0" err="1">
              <a:solidFill>
                <a:schemeClr val="bg1"/>
              </a:solidFill>
            </a:endParaRPr>
          </a:p>
        </p:txBody>
      </p:sp>
      <p:pic>
        <p:nvPicPr>
          <p:cNvPr id="39" name="Рисунок 20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642481" y="4677529"/>
            <a:ext cx="462535" cy="418899"/>
          </a:xfrm>
          <a:prstGeom prst="rect">
            <a:avLst/>
          </a:prstGeom>
        </p:spPr>
      </p:pic>
      <p:pic>
        <p:nvPicPr>
          <p:cNvPr id="25" name="Рисунок 24" descr="C:\Users\dolgenkovano.INT\Downloads\lazgQ_DHxLk.jpg"/>
          <p:cNvPicPr/>
          <p:nvPr/>
        </p:nvPicPr>
        <p:blipFill>
          <a:blip r:embed="rId10" cstate="print"/>
          <a:srcRect l="18440" t="23948" r="47728" b="27300"/>
          <a:stretch>
            <a:fillRect/>
          </a:stretch>
        </p:blipFill>
        <p:spPr bwMode="auto">
          <a:xfrm>
            <a:off x="184639" y="4058064"/>
            <a:ext cx="2075647" cy="245703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117342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523189597"/>
              </p:ext>
            </p:extLst>
          </p:nvPr>
        </p:nvGraphicFramePr>
        <p:xfrm>
          <a:off x="1193" y="858441"/>
          <a:ext cx="1191" cy="1191"/>
        </p:xfrm>
        <a:graphic>
          <a:graphicData uri="http://schemas.openxmlformats.org/presentationml/2006/ole">
            <p:oleObj spid="_x0000_s183853" name="think-cell Slide" r:id="rId5" imgW="360" imgH="360" progId="">
              <p:embed/>
            </p:oleObj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>
          <a:xfrm>
            <a:off x="11" y="857250"/>
            <a:ext cx="119063" cy="11906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1575"/>
              </a:lnSpc>
              <a:spcBef>
                <a:spcPct val="0"/>
              </a:spcBef>
              <a:spcAft>
                <a:spcPct val="0"/>
              </a:spcAft>
            </a:pPr>
            <a:endParaRPr lang="ru-RU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613663" y="5474053"/>
            <a:ext cx="3520912" cy="47369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900" dirty="0" err="1">
              <a:solidFill>
                <a:schemeClr val="bg1"/>
              </a:solidFill>
            </a:endParaRPr>
          </a:p>
        </p:txBody>
      </p:sp>
      <p:sp>
        <p:nvSpPr>
          <p:cNvPr id="15" name="Заголовок 3"/>
          <p:cNvSpPr>
            <a:spLocks noGrp="1"/>
          </p:cNvSpPr>
          <p:nvPr>
            <p:ph type="title"/>
          </p:nvPr>
        </p:nvSpPr>
        <p:spPr>
          <a:xfrm>
            <a:off x="894035" y="292939"/>
            <a:ext cx="8639999" cy="486482"/>
          </a:xfrm>
        </p:spPr>
        <p:txBody>
          <a:bodyPr/>
          <a:lstStyle/>
          <a:p>
            <a:r>
              <a:rPr lang="ru-RU" sz="1800" dirty="0">
                <a:latin typeface="+mn-lt"/>
              </a:rPr>
              <a:t>ОЖИДАЙТЕ ВКЛЮЧЕНИЯ ЛИНИЙ В ФПУ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4062"/>
          <a:stretch/>
        </p:blipFill>
        <p:spPr>
          <a:xfrm>
            <a:off x="5486401" y="868188"/>
            <a:ext cx="3655244" cy="5139637"/>
          </a:xfrm>
          <a:prstGeom prst="rect">
            <a:avLst/>
          </a:prstGeom>
        </p:spPr>
      </p:pic>
      <p:sp>
        <p:nvSpPr>
          <p:cNvPr id="17" name="Заголовок 3"/>
          <p:cNvSpPr txBox="1">
            <a:spLocks/>
          </p:cNvSpPr>
          <p:nvPr/>
        </p:nvSpPr>
        <p:spPr>
          <a:xfrm>
            <a:off x="290231" y="2326951"/>
            <a:ext cx="4360523" cy="48648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ru-RU" sz="1200" dirty="0">
                <a:latin typeface="+mn-lt"/>
              </a:rPr>
              <a:t>ПЕРЕХОД С ЛИНИИ НА ЛИНИЮ – </a:t>
            </a:r>
            <a:br>
              <a:rPr lang="ru-RU" sz="1200" dirty="0">
                <a:latin typeface="+mn-lt"/>
              </a:rPr>
            </a:br>
            <a:r>
              <a:rPr lang="ru-RU" sz="1200" dirty="0">
                <a:latin typeface="+mn-lt"/>
              </a:rPr>
              <a:t>САМЫЙ </a:t>
            </a:r>
            <a:r>
              <a:rPr lang="ru-RU" sz="1200" dirty="0">
                <a:solidFill>
                  <a:srgbClr val="FC0652"/>
                </a:solidFill>
                <a:latin typeface="+mn-lt"/>
              </a:rPr>
              <a:t>НЕЖЕЛАТЕЛЬНЫЙ СЦЕНАРИЙ</a:t>
            </a:r>
          </a:p>
        </p:txBody>
      </p:sp>
      <p:sp>
        <p:nvSpPr>
          <p:cNvPr id="20" name="Текст 1"/>
          <p:cNvSpPr txBox="1">
            <a:spLocks/>
          </p:cNvSpPr>
          <p:nvPr/>
        </p:nvSpPr>
        <p:spPr>
          <a:xfrm>
            <a:off x="253658" y="3246176"/>
            <a:ext cx="5287061" cy="594066"/>
          </a:xfrm>
          <a:prstGeom prst="rect">
            <a:avLst/>
          </a:prstGeom>
        </p:spPr>
        <p:txBody>
          <a:bodyPr vert="horz" lIns="54000" tIns="54000" rIns="27000" bIns="54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>
                <a:solidFill>
                  <a:srgbClr val="FC0652"/>
                </a:solidFill>
                <a:latin typeface="+mn-lt"/>
                <a:ea typeface="+mj-ea"/>
                <a:cs typeface="+mj-cs"/>
              </a:rPr>
              <a:t>Даже наличие в авторском коллективе одной и той же фамилии автора не гарантирует легкого </a:t>
            </a:r>
            <a:r>
              <a:rPr lang="ru-RU" sz="1800" b="1" dirty="0" smtClean="0">
                <a:solidFill>
                  <a:srgbClr val="FC0652"/>
                </a:solidFill>
                <a:latin typeface="+mn-lt"/>
                <a:ea typeface="+mj-ea"/>
                <a:cs typeface="+mj-cs"/>
              </a:rPr>
              <a:t>перехода</a:t>
            </a:r>
          </a:p>
          <a:p>
            <a:endParaRPr lang="ru-RU" sz="1800" b="1" dirty="0" smtClean="0">
              <a:solidFill>
                <a:srgbClr val="FC0652"/>
              </a:solidFill>
              <a:latin typeface="+mn-lt"/>
              <a:ea typeface="+mj-ea"/>
              <a:cs typeface="+mj-cs"/>
            </a:endParaRPr>
          </a:p>
          <a:p>
            <a:endParaRPr lang="ru-RU" sz="1800" b="1" dirty="0" smtClean="0">
              <a:solidFill>
                <a:srgbClr val="FC0652"/>
              </a:solidFill>
              <a:latin typeface="+mn-lt"/>
              <a:ea typeface="+mj-ea"/>
              <a:cs typeface="+mj-cs"/>
            </a:endParaRPr>
          </a:p>
          <a:p>
            <a:endParaRPr lang="ru-RU" sz="1800" b="1" dirty="0" smtClean="0">
              <a:solidFill>
                <a:srgbClr val="FC0652"/>
              </a:solidFill>
              <a:latin typeface="+mn-lt"/>
              <a:ea typeface="+mj-ea"/>
              <a:cs typeface="+mj-cs"/>
            </a:endParaRPr>
          </a:p>
          <a:p>
            <a:endParaRPr lang="ru-RU" sz="1800" b="1" dirty="0">
              <a:solidFill>
                <a:srgbClr val="FC0652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21" name="Текст 1"/>
          <p:cNvSpPr txBox="1">
            <a:spLocks/>
          </p:cNvSpPr>
          <p:nvPr/>
        </p:nvSpPr>
        <p:spPr>
          <a:xfrm>
            <a:off x="308522" y="4078136"/>
            <a:ext cx="5287061" cy="594066"/>
          </a:xfrm>
          <a:prstGeom prst="rect">
            <a:avLst/>
          </a:prstGeom>
        </p:spPr>
        <p:txBody>
          <a:bodyPr vert="horz" lIns="54000" tIns="54000" rIns="27000" bIns="54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>
                <a:latin typeface="+mn-lt"/>
              </a:rPr>
              <a:t>Необходимость закупать новые линии УМК, когда существующие еще не устарели, является </a:t>
            </a:r>
            <a:r>
              <a:rPr lang="ru-RU" sz="1600" b="1" dirty="0">
                <a:solidFill>
                  <a:srgbClr val="2D3494"/>
                </a:solidFill>
                <a:latin typeface="+mn-lt"/>
              </a:rPr>
              <a:t>неэффективным использованием бюджетных средств</a:t>
            </a: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53386" y="227487"/>
            <a:ext cx="300483" cy="350564"/>
          </a:xfrm>
          <a:prstGeom prst="rect">
            <a:avLst/>
          </a:prstGeom>
        </p:spPr>
      </p:pic>
      <p:sp>
        <p:nvSpPr>
          <p:cNvPr id="26" name="Текст 1"/>
          <p:cNvSpPr>
            <a:spLocks noGrp="1"/>
          </p:cNvSpPr>
          <p:nvPr>
            <p:ph type="body" sz="quarter" idx="12"/>
          </p:nvPr>
        </p:nvSpPr>
        <p:spPr>
          <a:xfrm>
            <a:off x="271937" y="1221301"/>
            <a:ext cx="5006839" cy="81009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ru-RU" sz="1600" b="1" dirty="0">
                <a:solidFill>
                  <a:srgbClr val="2D3494"/>
                </a:solidFill>
                <a:latin typeface="+mn-lt"/>
              </a:rPr>
              <a:t>Любой переход </a:t>
            </a:r>
            <a:r>
              <a:rPr lang="ru-RU" sz="1600" dirty="0">
                <a:latin typeface="+mn-lt"/>
              </a:rPr>
              <a:t>посередине линии </a:t>
            </a:r>
            <a:r>
              <a:rPr lang="ru-RU" sz="1600" b="1" dirty="0">
                <a:solidFill>
                  <a:srgbClr val="2D3494"/>
                </a:solidFill>
                <a:latin typeface="+mn-lt"/>
              </a:rPr>
              <a:t>тяжёл</a:t>
            </a:r>
            <a:r>
              <a:rPr lang="ru-RU" sz="1600" dirty="0">
                <a:latin typeface="+mn-lt"/>
              </a:rPr>
              <a:t>. Он вызывает большое количество сложностей и снижает образовательные результаты учеников, </a:t>
            </a:r>
          </a:p>
          <a:p>
            <a:pPr>
              <a:spcBef>
                <a:spcPts val="0"/>
              </a:spcBef>
            </a:pPr>
            <a:r>
              <a:rPr lang="ru-RU" sz="1600" dirty="0">
                <a:latin typeface="+mn-lt"/>
              </a:rPr>
              <a:t>что особенно важно в 9-х классах</a:t>
            </a:r>
          </a:p>
        </p:txBody>
      </p:sp>
      <p:sp>
        <p:nvSpPr>
          <p:cNvPr id="18" name="Овал 12"/>
          <p:cNvSpPr/>
          <p:nvPr/>
        </p:nvSpPr>
        <p:spPr>
          <a:xfrm>
            <a:off x="378900" y="184977"/>
            <a:ext cx="449479" cy="449479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21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31108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P8.QYLTySJmjBsznOE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c3tC5vRSCKOI_KW5_q7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pHgZ_bRHO8Xuzi02yA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pHgZ_bRHO8Xuzi02yA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6CA43Q1CyHzmef6mT6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ActXNATO6cZsuYOZ_T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plx4ZBS3S4vUZ9aif_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3ewVQ.TSCWpY8XvL2kd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wbMCKISQaVQopnqH3S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JueK_TDuxBawPA6pk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JueK_TDuxBawPA6pkR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JueK_TDuxBawPA6pk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JueK_TDuxBawPA6pkR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OeX6sTQGqU9oun6kJ4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p8RWW5TaOuYmhH_M9H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AYJNeRqyTznp_1Tiq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6xWxwETeWvRiN7ZRAw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Y8_GgQBaX7qii6r4I6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6CA43Q1CyHzmef6mT6Q"/>
</p:tagLst>
</file>

<file path=ppt/theme/theme1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04</TotalTime>
  <Words>3617</Words>
  <Application>Microsoft Office PowerPoint</Application>
  <PresentationFormat>Экран (4:3)</PresentationFormat>
  <Paragraphs>487</Paragraphs>
  <Slides>53</Slides>
  <Notes>2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3</vt:i4>
      </vt:variant>
    </vt:vector>
  </HeadingPairs>
  <TitlesOfParts>
    <vt:vector size="55" baseType="lpstr">
      <vt:lpstr>Drofa</vt:lpstr>
      <vt:lpstr>think-cell Slide</vt:lpstr>
      <vt:lpstr>Ресурсы и сервисы корпорации «Российский учебник» в инновационном образовательном пространстве школы  ведущий методист Долженкова Наталья Олеговна    2019г. </vt:lpstr>
      <vt:lpstr>КЛЮЧЕВЫЕ ЗАДАЧИ СОВРЕМЕННОГО УЧИТЕЛЯ</vt:lpstr>
      <vt:lpstr>Слайд 3</vt:lpstr>
      <vt:lpstr>Слайд 4</vt:lpstr>
      <vt:lpstr>Слайд 5</vt:lpstr>
      <vt:lpstr>Слайд 6</vt:lpstr>
      <vt:lpstr>На сегодняшний день в СМИ про ФПУ</vt:lpstr>
      <vt:lpstr>В СЛУЧАЕ, ЕСЛИ ВЫ РАБОТАЕТЕ ПО УМК Пасечника В.В.,УМК Сонина Н.И. , Суховой Т.С.,  МЫ ПРЕДЛАГАЕМ ВАМ СЛЕДУЮЩИЙ АЛГОРИТМ ПРИНЯТИЯ РЕШЕНИЙ</vt:lpstr>
      <vt:lpstr>ОЖИДАЙТЕ ВКЛЮЧЕНИЯ ЛИНИЙ В ФПУ</vt:lpstr>
      <vt:lpstr>Слайд 10</vt:lpstr>
      <vt:lpstr>Слайд 11</vt:lpstr>
      <vt:lpstr>УМК по биологии из ФПУ  от 28.12.2018г Приказ № 345</vt:lpstr>
      <vt:lpstr>ТЕКУЩИЙ ПОРТФЕЛЬ КОРПОРАЦИИ «РОССИЙСКИЙ УЧЕБНИК»  ПО БИОЛОГИИ, ДОСТУПНЫЙ ДЛЯ ЗАКУПКИ</vt:lpstr>
      <vt:lpstr>ТЕКУЩИЙ ПОРТФЕЛЬ КОРПОРАЦИИ «РОССИЙСКИЙ УЧЕБНИК»  ПО БИОЛОГИИ, ДОСТУПНЫЙ ДЛЯ ЗАКУПКИ</vt:lpstr>
      <vt:lpstr>ТЕКУЩИЙ ПОРТФЕЛЬ КОРПОРАЦИИ «РОССИЙСКИЙ УЧЕБНИК»  ПО БИОЛОГИИ, ДОСТУПНЫЙ ДЛЯ ЗАКУПКИ</vt:lpstr>
      <vt:lpstr>ТЕКУЩИЙ ПОРТФЕЛЬ КОРПОРАЦИИ «РОССИЙСКИЙ УЧЕБНИК»  ПО БИОЛОГИИ, ДОСТУПНЫЙ ДЛЯ ЗАКУПКИ</vt:lpstr>
      <vt:lpstr>ТЕКУЩИЙ ПОРТФЕЛЬ КОРПОРАЦИИ «РОССИЙСКИЙ УЧЕБНИК»  ПО БИОЛОГИИ, ДОСТУПНЫЙ ДЛЯ ЗАКУПКИ</vt:lpstr>
      <vt:lpstr>ЛИНИЯ УМК СИВОГЛАЗОВА В.И. (5–11 КЛАССЫ)</vt:lpstr>
      <vt:lpstr>ЛИНИЯ УМК СИВОГЛАЗОВА В.И. (5–11 КЛАССЫ)</vt:lpstr>
      <vt:lpstr>РЕКОМЕНДАЦИИ ПО ПЕРЕХОДУ  БИОЛОГИЯ</vt:lpstr>
      <vt:lpstr>РЕКОМЕНДАЦИИ ПО ПЕРЕХОДУ  БИОЛОГИЯ</vt:lpstr>
      <vt:lpstr>РЕКОМЕНДАЦИИ ПО ПЕРЕХОДУ  БИОЛОГИЯ</vt:lpstr>
      <vt:lpstr>РЕКОМЕНДАЦИИ ПО ПЕРЕХОДУ  БИОЛОГИЯ</vt:lpstr>
      <vt:lpstr>Слайд 24</vt:lpstr>
      <vt:lpstr>  </vt:lpstr>
      <vt:lpstr>Учебники, прошедшие все необходимые экспертизы, поданные в 2018 году в МИНИСТЕРСТВО ПРОСВЕЩЕНИЯ и ожидающие включения в ФПУ</vt:lpstr>
      <vt:lpstr>ТЕКУЩИЙ ПОРТФЕЛЬ КОРПОРАЦИИ «РОССИЙСКИЙ УЧЕБНИК»  ПО ЭКОЛОГИИ, ДОСТУПНЫЙ ДЛЯ ЗАКУПКИ</vt:lpstr>
      <vt:lpstr>                        Учебно-методические пособия по экологии</vt:lpstr>
      <vt:lpstr>ФПУ  от 28.12.2018г. № 345</vt:lpstr>
      <vt:lpstr>ТЕКУЩИЙ ПОРТФЕЛЬ КОРПОРАЦИИ «РОССИЙСКИЙ УЧЕБНИК»  ПО ЕСТЕСТВОЗНАНИЮ, ДОСТУПНЫЙ ДЛЯ ЗАКУПКИ</vt:lpstr>
      <vt:lpstr>ФПУ  от 28.12.2018г. № 345</vt:lpstr>
      <vt:lpstr>Слайд 32</vt:lpstr>
      <vt:lpstr>       Сайт корпорации  «РОССИЙСКИЙ УЧЕБНИК»  rosuchebnik.ru  неограниченное по объему личное информационно-образовательное      пространство для методического портфеля учителя</vt:lpstr>
      <vt:lpstr>       Для учителя  на сайте издательства            Методическая помощь   rosuchebnik.ru</vt:lpstr>
      <vt:lpstr>Слайд 35</vt:lpstr>
      <vt:lpstr>Наглядные и раздаточные материалы по биологии</vt:lpstr>
      <vt:lpstr>Слайд 37</vt:lpstr>
      <vt:lpstr>ВЕБИНАРЫ  с возможностью получения сертификата  и методических материалов</vt:lpstr>
      <vt:lpstr>Проекты, конкурсы, акции</vt:lpstr>
      <vt:lpstr>Проекты, конкурсы, акции</vt:lpstr>
      <vt:lpstr>УНИВЕРСИТЕТ КОРПОРАЦИИ «РОССИЙСКИЙ УЧЕБНИК»</vt:lpstr>
      <vt:lpstr>НАДЕЖНАЯ ОСНОВА ЦИФРОВОЙ ШКОЛЫ:  ПРОСТЫЕ РЕШЕНИЯ СЛОЖНЫХ ЗАДАЧ</vt:lpstr>
      <vt:lpstr>Слайд 43</vt:lpstr>
      <vt:lpstr>Слайд 44</vt:lpstr>
      <vt:lpstr>Мы в социальных сетях</vt:lpstr>
      <vt:lpstr>Слайд 46</vt:lpstr>
      <vt:lpstr>Слайд 47</vt:lpstr>
      <vt:lpstr>Кто постигает новое, имея старое, тот может быть учителем            Конфуций           </vt:lpstr>
      <vt:lpstr>   Письмо Министерства образования и науки РФ от 28 октября 2015 г. № 08-1786 “О рабочих программах учебных предметов” https://rosuchebnik.ru  </vt:lpstr>
      <vt:lpstr>Методический       шлейф </vt:lpstr>
      <vt:lpstr>Слайд 51</vt:lpstr>
      <vt:lpstr>Слайд 52</vt:lpstr>
      <vt:lpstr>Слайд 53</vt:lpstr>
    </vt:vector>
  </TitlesOfParts>
  <Company>HP Inc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 Vakhidova</dc:creator>
  <cp:lastModifiedBy>DolgenkovaNO</cp:lastModifiedBy>
  <cp:revision>991</cp:revision>
  <cp:lastPrinted>2019-02-12T18:51:53Z</cp:lastPrinted>
  <dcterms:created xsi:type="dcterms:W3CDTF">2019-01-24T10:53:01Z</dcterms:created>
  <dcterms:modified xsi:type="dcterms:W3CDTF">2019-11-05T08:27:00Z</dcterms:modified>
</cp:coreProperties>
</file>